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0"/>
  </p:notesMasterIdLst>
  <p:sldIdLst>
    <p:sldId id="1442" r:id="rId2"/>
    <p:sldId id="1512" r:id="rId3"/>
    <p:sldId id="1513" r:id="rId4"/>
    <p:sldId id="1514" r:id="rId5"/>
    <p:sldId id="1516" r:id="rId6"/>
    <p:sldId id="1517" r:id="rId7"/>
    <p:sldId id="1518" r:id="rId8"/>
    <p:sldId id="1519" r:id="rId9"/>
    <p:sldId id="1520" r:id="rId10"/>
    <p:sldId id="1521" r:id="rId11"/>
    <p:sldId id="1522" r:id="rId12"/>
    <p:sldId id="1523" r:id="rId13"/>
    <p:sldId id="1524" r:id="rId14"/>
    <p:sldId id="1525" r:id="rId15"/>
    <p:sldId id="1526" r:id="rId16"/>
    <p:sldId id="1528" r:id="rId17"/>
    <p:sldId id="1515" r:id="rId18"/>
    <p:sldId id="148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95" d="100"/>
          <a:sy n="95" d="100"/>
        </p:scale>
        <p:origin x="216" y="72"/>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sz="1800" b="1" i="0" u="none" strike="noStrike" baseline="0">
              <a:solidFill>
                <a:srgbClr val="000000"/>
              </a:solidFill>
              <a:latin typeface="Calibri"/>
              <a:ea typeface="Calibri"/>
              <a:cs typeface="Calibri"/>
            </a:defRPr>
          </a:pPr>
          <a:endParaRPr lang="en-US"/>
        </a:p>
      </c:txPr>
    </c:title>
    <c:autoTitleDeleted val="0"/>
    <c:plotArea>
      <c:layout/>
      <c:lineChart>
        <c:grouping val="standard"/>
        <c:varyColors val="0"/>
        <c:ser>
          <c:idx val="6"/>
          <c:order val="0"/>
          <c:tx>
            <c:strRef>
              <c:f>Summary!$H$3</c:f>
              <c:strCache>
                <c:ptCount val="1"/>
                <c:pt idx="0">
                  <c:v>Heifers&lt;200kg</c:v>
                </c:pt>
              </c:strCache>
            </c:strRef>
          </c:tx>
          <c:spPr>
            <a:ln w="12700">
              <a:solidFill>
                <a:schemeClr val="tx1"/>
              </a:solidFill>
            </a:ln>
          </c:spPr>
          <c:marker>
            <c:symbol val="none"/>
          </c:marker>
          <c:cat>
            <c:numRef>
              <c:f>Summary!$B$4:$B$828</c:f>
              <c:numCache>
                <c:formatCode>General</c:formatCode>
                <c:ptCount val="82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H$4:$H$828</c:f>
              <c:numCache>
                <c:formatCode>0.00</c:formatCode>
                <c:ptCount val="825"/>
                <c:pt idx="0">
                  <c:v>16.43</c:v>
                </c:pt>
                <c:pt idx="1">
                  <c:v>16.25</c:v>
                </c:pt>
                <c:pt idx="2">
                  <c:v>16.96</c:v>
                </c:pt>
                <c:pt idx="3">
                  <c:v>16.21</c:v>
                </c:pt>
                <c:pt idx="4">
                  <c:v>16.66</c:v>
                </c:pt>
                <c:pt idx="5">
                  <c:v>16.13</c:v>
                </c:pt>
                <c:pt idx="6">
                  <c:v>13.44</c:v>
                </c:pt>
                <c:pt idx="7">
                  <c:v>15.7</c:v>
                </c:pt>
                <c:pt idx="8">
                  <c:v>15.65</c:v>
                </c:pt>
                <c:pt idx="9">
                  <c:v>15.34</c:v>
                </c:pt>
                <c:pt idx="10">
                  <c:v>15.73</c:v>
                </c:pt>
                <c:pt idx="11">
                  <c:v>15.88</c:v>
                </c:pt>
                <c:pt idx="12">
                  <c:v>16.059999999999999</c:v>
                </c:pt>
                <c:pt idx="13">
                  <c:v>15.76</c:v>
                </c:pt>
                <c:pt idx="14">
                  <c:v>15.75</c:v>
                </c:pt>
                <c:pt idx="15">
                  <c:v>15.56</c:v>
                </c:pt>
                <c:pt idx="16">
                  <c:v>16.63</c:v>
                </c:pt>
                <c:pt idx="17">
                  <c:v>15.6</c:v>
                </c:pt>
                <c:pt idx="18">
                  <c:v>16.149999999999999</c:v>
                </c:pt>
                <c:pt idx="19">
                  <c:v>16.670000000000002</c:v>
                </c:pt>
                <c:pt idx="20">
                  <c:v>16.329999999999998</c:v>
                </c:pt>
                <c:pt idx="21">
                  <c:v>16.07</c:v>
                </c:pt>
                <c:pt idx="22">
                  <c:v>15.99</c:v>
                </c:pt>
                <c:pt idx="23">
                  <c:v>15.7</c:v>
                </c:pt>
                <c:pt idx="24">
                  <c:v>15.9</c:v>
                </c:pt>
                <c:pt idx="25">
                  <c:v>16.39</c:v>
                </c:pt>
                <c:pt idx="26">
                  <c:v>15.7</c:v>
                </c:pt>
                <c:pt idx="27">
                  <c:v>16.13</c:v>
                </c:pt>
                <c:pt idx="28">
                  <c:v>15.88</c:v>
                </c:pt>
                <c:pt idx="29">
                  <c:v>16.059999999999999</c:v>
                </c:pt>
                <c:pt idx="30">
                  <c:v>16.2</c:v>
                </c:pt>
                <c:pt idx="31">
                  <c:v>16.260000000000002</c:v>
                </c:pt>
                <c:pt idx="32">
                  <c:v>15.53</c:v>
                </c:pt>
                <c:pt idx="33">
                  <c:v>16.46</c:v>
                </c:pt>
                <c:pt idx="34">
                  <c:v>16.510000000000002</c:v>
                </c:pt>
                <c:pt idx="35">
                  <c:v>17.010000000000002</c:v>
                </c:pt>
                <c:pt idx="36">
                  <c:v>16.440000000000001</c:v>
                </c:pt>
                <c:pt idx="37">
                  <c:v>16.59</c:v>
                </c:pt>
                <c:pt idx="38">
                  <c:v>16.52</c:v>
                </c:pt>
                <c:pt idx="39">
                  <c:v>16.559999999999999</c:v>
                </c:pt>
                <c:pt idx="40">
                  <c:v>16.71</c:v>
                </c:pt>
                <c:pt idx="41">
                  <c:v>16.86</c:v>
                </c:pt>
                <c:pt idx="42">
                  <c:v>16.940000000000001</c:v>
                </c:pt>
                <c:pt idx="43">
                  <c:v>18.09</c:v>
                </c:pt>
                <c:pt idx="44">
                  <c:v>17.62</c:v>
                </c:pt>
                <c:pt idx="45">
                  <c:v>18.75</c:v>
                </c:pt>
                <c:pt idx="46">
                  <c:v>19.079999999999998</c:v>
                </c:pt>
                <c:pt idx="47">
                  <c:v>18.920000000000002</c:v>
                </c:pt>
                <c:pt idx="48">
                  <c:v>19.489999999999998</c:v>
                </c:pt>
                <c:pt idx="49">
                  <c:v>19.72</c:v>
                </c:pt>
                <c:pt idx="50">
                  <c:v>19.260000000000002</c:v>
                </c:pt>
                <c:pt idx="51">
                  <c:v>19.86</c:v>
                </c:pt>
                <c:pt idx="52">
                  <c:v>19.02</c:v>
                </c:pt>
                <c:pt idx="53">
                  <c:v>18.059999999999999</c:v>
                </c:pt>
                <c:pt idx="54">
                  <c:v>18.57</c:v>
                </c:pt>
                <c:pt idx="55">
                  <c:v>18.71</c:v>
                </c:pt>
                <c:pt idx="56">
                  <c:v>17.87</c:v>
                </c:pt>
                <c:pt idx="57">
                  <c:v>18.37</c:v>
                </c:pt>
                <c:pt idx="58">
                  <c:v>17.79</c:v>
                </c:pt>
                <c:pt idx="59">
                  <c:v>17.96</c:v>
                </c:pt>
                <c:pt idx="60">
                  <c:v>18.57</c:v>
                </c:pt>
                <c:pt idx="61">
                  <c:v>18.579999999999998</c:v>
                </c:pt>
                <c:pt idx="62">
                  <c:v>18.350000000000001</c:v>
                </c:pt>
                <c:pt idx="63">
                  <c:v>18.989999999999998</c:v>
                </c:pt>
                <c:pt idx="64">
                  <c:v>19.100000000000001</c:v>
                </c:pt>
                <c:pt idx="65">
                  <c:v>18.23</c:v>
                </c:pt>
                <c:pt idx="66">
                  <c:v>18.440000000000001</c:v>
                </c:pt>
                <c:pt idx="67">
                  <c:v>18.28</c:v>
                </c:pt>
                <c:pt idx="68">
                  <c:v>18.21</c:v>
                </c:pt>
                <c:pt idx="69">
                  <c:v>17.850000000000001</c:v>
                </c:pt>
                <c:pt idx="70">
                  <c:v>18.350000000000001</c:v>
                </c:pt>
                <c:pt idx="71">
                  <c:v>18.899999999999999</c:v>
                </c:pt>
                <c:pt idx="72">
                  <c:v>18.68</c:v>
                </c:pt>
                <c:pt idx="73">
                  <c:v>21</c:v>
                </c:pt>
                <c:pt idx="74">
                  <c:v>21.15</c:v>
                </c:pt>
                <c:pt idx="75">
                  <c:v>20.07</c:v>
                </c:pt>
                <c:pt idx="76">
                  <c:v>20.07</c:v>
                </c:pt>
                <c:pt idx="77">
                  <c:v>20.59</c:v>
                </c:pt>
                <c:pt idx="78">
                  <c:v>20.010000000000002</c:v>
                </c:pt>
                <c:pt idx="79">
                  <c:v>20.14</c:v>
                </c:pt>
                <c:pt idx="80">
                  <c:v>20.309999999999999</c:v>
                </c:pt>
                <c:pt idx="81">
                  <c:v>20.53</c:v>
                </c:pt>
                <c:pt idx="82">
                  <c:v>20.63</c:v>
                </c:pt>
                <c:pt idx="83">
                  <c:v>21.69</c:v>
                </c:pt>
                <c:pt idx="84">
                  <c:v>23.11</c:v>
                </c:pt>
                <c:pt idx="85">
                  <c:v>21.42</c:v>
                </c:pt>
                <c:pt idx="86">
                  <c:v>23.75</c:v>
                </c:pt>
                <c:pt idx="87">
                  <c:v>22.96</c:v>
                </c:pt>
                <c:pt idx="88">
                  <c:v>23.26</c:v>
                </c:pt>
                <c:pt idx="89">
                  <c:v>23.25</c:v>
                </c:pt>
                <c:pt idx="90">
                  <c:v>22.67</c:v>
                </c:pt>
                <c:pt idx="91">
                  <c:v>22.16</c:v>
                </c:pt>
                <c:pt idx="92">
                  <c:v>22.7</c:v>
                </c:pt>
                <c:pt idx="93">
                  <c:v>22.99</c:v>
                </c:pt>
                <c:pt idx="94">
                  <c:v>23.27</c:v>
                </c:pt>
                <c:pt idx="95">
                  <c:v>21.65</c:v>
                </c:pt>
                <c:pt idx="96">
                  <c:v>21.6</c:v>
                </c:pt>
                <c:pt idx="97">
                  <c:v>21.31</c:v>
                </c:pt>
                <c:pt idx="98">
                  <c:v>19.809999999999999</c:v>
                </c:pt>
                <c:pt idx="99">
                  <c:v>19.41</c:v>
                </c:pt>
                <c:pt idx="100">
                  <c:v>18.88</c:v>
                </c:pt>
                <c:pt idx="101">
                  <c:v>17.739999999999998</c:v>
                </c:pt>
                <c:pt idx="102">
                  <c:v>16.39</c:v>
                </c:pt>
                <c:pt idx="103">
                  <c:v>16.829999999999998</c:v>
                </c:pt>
                <c:pt idx="104">
                  <c:v>16.46</c:v>
                </c:pt>
                <c:pt idx="105">
                  <c:v>16.59</c:v>
                </c:pt>
                <c:pt idx="106">
                  <c:v>16.95</c:v>
                </c:pt>
                <c:pt idx="107">
                  <c:v>16.059999999999999</c:v>
                </c:pt>
                <c:pt idx="108">
                  <c:v>16.010000000000002</c:v>
                </c:pt>
                <c:pt idx="109">
                  <c:v>17.32</c:v>
                </c:pt>
                <c:pt idx="110">
                  <c:v>16.72</c:v>
                </c:pt>
                <c:pt idx="111">
                  <c:v>16.59</c:v>
                </c:pt>
                <c:pt idx="112">
                  <c:v>15.47</c:v>
                </c:pt>
                <c:pt idx="113">
                  <c:v>16.77</c:v>
                </c:pt>
                <c:pt idx="114">
                  <c:v>16.2</c:v>
                </c:pt>
                <c:pt idx="115">
                  <c:v>16.07</c:v>
                </c:pt>
                <c:pt idx="116">
                  <c:v>16.04</c:v>
                </c:pt>
                <c:pt idx="117">
                  <c:v>16.149999999999999</c:v>
                </c:pt>
                <c:pt idx="118">
                  <c:v>15.7</c:v>
                </c:pt>
                <c:pt idx="119">
                  <c:v>15.65</c:v>
                </c:pt>
                <c:pt idx="120">
                  <c:v>15.78</c:v>
                </c:pt>
                <c:pt idx="121">
                  <c:v>15.95</c:v>
                </c:pt>
                <c:pt idx="122">
                  <c:v>17.41</c:v>
                </c:pt>
                <c:pt idx="123">
                  <c:v>16.89</c:v>
                </c:pt>
                <c:pt idx="124">
                  <c:v>16.95</c:v>
                </c:pt>
                <c:pt idx="125">
                  <c:v>16.98</c:v>
                </c:pt>
                <c:pt idx="126">
                  <c:v>17.16</c:v>
                </c:pt>
                <c:pt idx="127">
                  <c:v>17.59</c:v>
                </c:pt>
                <c:pt idx="128">
                  <c:v>17.78</c:v>
                </c:pt>
                <c:pt idx="129">
                  <c:v>17.809999999999999</c:v>
                </c:pt>
                <c:pt idx="130">
                  <c:v>17.600000000000001</c:v>
                </c:pt>
                <c:pt idx="131">
                  <c:v>16.260000000000002</c:v>
                </c:pt>
                <c:pt idx="132">
                  <c:v>17.559999999999999</c:v>
                </c:pt>
                <c:pt idx="133">
                  <c:v>17.46</c:v>
                </c:pt>
                <c:pt idx="134">
                  <c:v>18.54</c:v>
                </c:pt>
                <c:pt idx="135">
                  <c:v>17.899999999999999</c:v>
                </c:pt>
                <c:pt idx="136">
                  <c:v>18.850000000000001</c:v>
                </c:pt>
                <c:pt idx="137">
                  <c:v>16.41</c:v>
                </c:pt>
                <c:pt idx="138">
                  <c:v>17.87</c:v>
                </c:pt>
                <c:pt idx="139">
                  <c:v>17.09</c:v>
                </c:pt>
                <c:pt idx="140">
                  <c:v>17.600000000000001</c:v>
                </c:pt>
                <c:pt idx="141">
                  <c:v>17.68</c:v>
                </c:pt>
                <c:pt idx="142">
                  <c:v>17.86</c:v>
                </c:pt>
                <c:pt idx="143">
                  <c:v>18.12</c:v>
                </c:pt>
                <c:pt idx="144">
                  <c:v>17.600000000000001</c:v>
                </c:pt>
                <c:pt idx="145">
                  <c:v>17.23</c:v>
                </c:pt>
                <c:pt idx="146">
                  <c:v>16.84</c:v>
                </c:pt>
                <c:pt idx="147">
                  <c:v>17.03</c:v>
                </c:pt>
                <c:pt idx="148">
                  <c:v>17.260000000000002</c:v>
                </c:pt>
                <c:pt idx="149">
                  <c:v>16.16</c:v>
                </c:pt>
                <c:pt idx="150">
                  <c:v>16.23</c:v>
                </c:pt>
                <c:pt idx="151">
                  <c:v>17.82</c:v>
                </c:pt>
                <c:pt idx="152">
                  <c:v>15.71</c:v>
                </c:pt>
                <c:pt idx="153">
                  <c:v>15.4</c:v>
                </c:pt>
                <c:pt idx="154">
                  <c:v>15.48</c:v>
                </c:pt>
                <c:pt idx="155">
                  <c:v>15.67</c:v>
                </c:pt>
                <c:pt idx="156">
                  <c:v>15.64</c:v>
                </c:pt>
                <c:pt idx="157">
                  <c:v>16.52</c:v>
                </c:pt>
                <c:pt idx="158">
                  <c:v>17.100000000000001</c:v>
                </c:pt>
                <c:pt idx="159">
                  <c:v>16.62</c:v>
                </c:pt>
                <c:pt idx="160">
                  <c:v>16.329999999999998</c:v>
                </c:pt>
                <c:pt idx="161">
                  <c:v>16.059999999999999</c:v>
                </c:pt>
                <c:pt idx="162">
                  <c:v>15.74</c:v>
                </c:pt>
                <c:pt idx="163">
                  <c:v>15.79</c:v>
                </c:pt>
                <c:pt idx="164">
                  <c:v>15.96</c:v>
                </c:pt>
                <c:pt idx="165">
                  <c:v>15.4</c:v>
                </c:pt>
                <c:pt idx="166">
                  <c:v>15.28</c:v>
                </c:pt>
                <c:pt idx="167">
                  <c:v>16.03</c:v>
                </c:pt>
                <c:pt idx="168">
                  <c:v>15.84</c:v>
                </c:pt>
                <c:pt idx="169">
                  <c:v>16.38</c:v>
                </c:pt>
                <c:pt idx="170">
                  <c:v>16.89</c:v>
                </c:pt>
                <c:pt idx="171">
                  <c:v>15.61</c:v>
                </c:pt>
                <c:pt idx="172">
                  <c:v>16.670000000000002</c:v>
                </c:pt>
                <c:pt idx="173">
                  <c:v>15.94</c:v>
                </c:pt>
                <c:pt idx="174">
                  <c:v>16.489999999999998</c:v>
                </c:pt>
                <c:pt idx="175">
                  <c:v>15.9</c:v>
                </c:pt>
                <c:pt idx="176">
                  <c:v>16.420000000000002</c:v>
                </c:pt>
                <c:pt idx="177">
                  <c:v>16.190000000000001</c:v>
                </c:pt>
                <c:pt idx="178">
                  <c:v>16.12</c:v>
                </c:pt>
                <c:pt idx="179">
                  <c:v>16.059999999999999</c:v>
                </c:pt>
                <c:pt idx="180">
                  <c:v>16.46</c:v>
                </c:pt>
                <c:pt idx="181">
                  <c:v>16.73</c:v>
                </c:pt>
                <c:pt idx="182">
                  <c:v>16.27</c:v>
                </c:pt>
                <c:pt idx="183">
                  <c:v>16.63</c:v>
                </c:pt>
                <c:pt idx="184">
                  <c:v>16.82</c:v>
                </c:pt>
                <c:pt idx="185">
                  <c:v>16.829999999999998</c:v>
                </c:pt>
                <c:pt idx="186">
                  <c:v>17.91</c:v>
                </c:pt>
                <c:pt idx="187">
                  <c:v>17.12</c:v>
                </c:pt>
                <c:pt idx="188">
                  <c:v>16.95</c:v>
                </c:pt>
                <c:pt idx="189">
                  <c:v>16.88</c:v>
                </c:pt>
                <c:pt idx="190">
                  <c:v>16.61</c:v>
                </c:pt>
                <c:pt idx="191">
                  <c:v>16.93</c:v>
                </c:pt>
                <c:pt idx="192">
                  <c:v>17.52</c:v>
                </c:pt>
                <c:pt idx="193">
                  <c:v>17.09</c:v>
                </c:pt>
                <c:pt idx="194">
                  <c:v>17.48</c:v>
                </c:pt>
                <c:pt idx="195">
                  <c:v>16.43</c:v>
                </c:pt>
                <c:pt idx="196">
                  <c:v>16.87</c:v>
                </c:pt>
                <c:pt idx="197">
                  <c:v>17.2</c:v>
                </c:pt>
                <c:pt idx="198">
                  <c:v>17.489999999999998</c:v>
                </c:pt>
                <c:pt idx="199">
                  <c:v>16.78</c:v>
                </c:pt>
                <c:pt idx="200">
                  <c:v>17.12</c:v>
                </c:pt>
                <c:pt idx="201">
                  <c:v>17.96</c:v>
                </c:pt>
                <c:pt idx="202">
                  <c:v>17.600000000000001</c:v>
                </c:pt>
                <c:pt idx="203">
                  <c:v>17.920000000000002</c:v>
                </c:pt>
                <c:pt idx="204">
                  <c:v>17.84</c:v>
                </c:pt>
                <c:pt idx="205">
                  <c:v>17.920000000000002</c:v>
                </c:pt>
                <c:pt idx="206">
                  <c:v>17.57</c:v>
                </c:pt>
                <c:pt idx="207">
                  <c:v>17.690000000000001</c:v>
                </c:pt>
                <c:pt idx="208">
                  <c:v>16.93</c:v>
                </c:pt>
                <c:pt idx="209">
                  <c:v>17.170000000000002</c:v>
                </c:pt>
                <c:pt idx="210">
                  <c:v>16.59</c:v>
                </c:pt>
                <c:pt idx="211">
                  <c:v>17.02</c:v>
                </c:pt>
                <c:pt idx="212">
                  <c:v>16.5</c:v>
                </c:pt>
                <c:pt idx="213">
                  <c:v>17.5</c:v>
                </c:pt>
                <c:pt idx="214">
                  <c:v>18.02</c:v>
                </c:pt>
                <c:pt idx="215">
                  <c:v>17.86</c:v>
                </c:pt>
                <c:pt idx="216">
                  <c:v>18.170000000000002</c:v>
                </c:pt>
                <c:pt idx="217">
                  <c:v>17.18</c:v>
                </c:pt>
                <c:pt idx="218">
                  <c:v>18.309999999999999</c:v>
                </c:pt>
                <c:pt idx="219">
                  <c:v>18.73</c:v>
                </c:pt>
                <c:pt idx="220">
                  <c:v>18.71</c:v>
                </c:pt>
                <c:pt idx="221">
                  <c:v>18.760000000000002</c:v>
                </c:pt>
                <c:pt idx="222">
                  <c:v>19.27</c:v>
                </c:pt>
                <c:pt idx="223">
                  <c:v>24.1</c:v>
                </c:pt>
                <c:pt idx="224">
                  <c:v>19.7</c:v>
                </c:pt>
                <c:pt idx="225">
                  <c:v>19.71</c:v>
                </c:pt>
                <c:pt idx="226">
                  <c:v>19.39</c:v>
                </c:pt>
                <c:pt idx="227">
                  <c:v>19.37</c:v>
                </c:pt>
                <c:pt idx="228">
                  <c:v>19.55</c:v>
                </c:pt>
                <c:pt idx="229">
                  <c:v>19.420000000000002</c:v>
                </c:pt>
                <c:pt idx="230">
                  <c:v>19.649999999999999</c:v>
                </c:pt>
                <c:pt idx="231">
                  <c:v>19.63</c:v>
                </c:pt>
                <c:pt idx="232">
                  <c:v>20.79</c:v>
                </c:pt>
                <c:pt idx="233">
                  <c:v>20.399999999999999</c:v>
                </c:pt>
                <c:pt idx="234">
                  <c:v>20.96</c:v>
                </c:pt>
                <c:pt idx="235">
                  <c:v>20.97</c:v>
                </c:pt>
                <c:pt idx="236">
                  <c:v>21.35</c:v>
                </c:pt>
                <c:pt idx="237">
                  <c:v>21.96</c:v>
                </c:pt>
                <c:pt idx="238">
                  <c:v>21.33</c:v>
                </c:pt>
                <c:pt idx="239">
                  <c:v>21.51</c:v>
                </c:pt>
                <c:pt idx="240">
                  <c:v>20.79</c:v>
                </c:pt>
                <c:pt idx="241">
                  <c:v>21.65</c:v>
                </c:pt>
                <c:pt idx="242">
                  <c:v>21.83</c:v>
                </c:pt>
                <c:pt idx="243">
                  <c:v>21.23</c:v>
                </c:pt>
                <c:pt idx="244">
                  <c:v>20.89</c:v>
                </c:pt>
                <c:pt idx="245">
                  <c:v>21.1</c:v>
                </c:pt>
                <c:pt idx="246">
                  <c:v>20.079999999999998</c:v>
                </c:pt>
                <c:pt idx="247">
                  <c:v>19.399999999999999</c:v>
                </c:pt>
                <c:pt idx="248">
                  <c:v>18.78</c:v>
                </c:pt>
                <c:pt idx="249">
                  <c:v>19.27</c:v>
                </c:pt>
                <c:pt idx="250">
                  <c:v>17.510000000000002</c:v>
                </c:pt>
                <c:pt idx="251">
                  <c:v>18.79</c:v>
                </c:pt>
                <c:pt idx="252">
                  <c:v>19.100000000000001</c:v>
                </c:pt>
                <c:pt idx="253">
                  <c:v>18.940000000000001</c:v>
                </c:pt>
                <c:pt idx="254">
                  <c:v>19.48</c:v>
                </c:pt>
                <c:pt idx="255">
                  <c:v>21.12</c:v>
                </c:pt>
                <c:pt idx="256">
                  <c:v>21.09</c:v>
                </c:pt>
                <c:pt idx="257">
                  <c:v>20.63</c:v>
                </c:pt>
                <c:pt idx="258">
                  <c:v>20.149999999999999</c:v>
                </c:pt>
                <c:pt idx="259">
                  <c:v>19.68</c:v>
                </c:pt>
                <c:pt idx="260">
                  <c:v>19.399999999999999</c:v>
                </c:pt>
                <c:pt idx="261">
                  <c:v>18.71</c:v>
                </c:pt>
                <c:pt idx="262">
                  <c:v>19.16</c:v>
                </c:pt>
                <c:pt idx="263">
                  <c:v>19.649999999999999</c:v>
                </c:pt>
                <c:pt idx="264">
                  <c:v>19.91</c:v>
                </c:pt>
                <c:pt idx="265">
                  <c:v>20.5</c:v>
                </c:pt>
                <c:pt idx="266">
                  <c:v>21.11</c:v>
                </c:pt>
                <c:pt idx="267">
                  <c:v>20.420000000000002</c:v>
                </c:pt>
                <c:pt idx="268">
                  <c:v>20.329999999999998</c:v>
                </c:pt>
                <c:pt idx="269">
                  <c:v>21.43</c:v>
                </c:pt>
                <c:pt idx="270">
                  <c:v>20.93</c:v>
                </c:pt>
                <c:pt idx="271">
                  <c:v>20.6</c:v>
                </c:pt>
                <c:pt idx="272">
                  <c:v>21.11</c:v>
                </c:pt>
                <c:pt idx="273">
                  <c:v>20.21</c:v>
                </c:pt>
                <c:pt idx="274">
                  <c:v>19.78</c:v>
                </c:pt>
                <c:pt idx="275">
                  <c:v>20.88</c:v>
                </c:pt>
                <c:pt idx="276">
                  <c:v>19.760000000000002</c:v>
                </c:pt>
                <c:pt idx="277">
                  <c:v>21.24</c:v>
                </c:pt>
                <c:pt idx="278">
                  <c:v>20.74</c:v>
                </c:pt>
                <c:pt idx="279">
                  <c:v>21.17</c:v>
                </c:pt>
                <c:pt idx="280">
                  <c:v>20.79</c:v>
                </c:pt>
                <c:pt idx="281">
                  <c:v>20.53</c:v>
                </c:pt>
                <c:pt idx="282">
                  <c:v>20.92</c:v>
                </c:pt>
                <c:pt idx="283">
                  <c:v>19.96</c:v>
                </c:pt>
                <c:pt idx="284">
                  <c:v>18.09</c:v>
                </c:pt>
                <c:pt idx="285">
                  <c:v>18.329999999999998</c:v>
                </c:pt>
                <c:pt idx="286">
                  <c:v>18.62</c:v>
                </c:pt>
                <c:pt idx="287">
                  <c:v>19.36</c:v>
                </c:pt>
                <c:pt idx="288">
                  <c:v>18.32</c:v>
                </c:pt>
                <c:pt idx="289">
                  <c:v>18.62</c:v>
                </c:pt>
                <c:pt idx="290">
                  <c:v>18.36</c:v>
                </c:pt>
                <c:pt idx="291">
                  <c:v>19.25</c:v>
                </c:pt>
                <c:pt idx="292">
                  <c:v>20.69</c:v>
                </c:pt>
                <c:pt idx="293">
                  <c:v>21.53</c:v>
                </c:pt>
                <c:pt idx="294">
                  <c:v>21.45</c:v>
                </c:pt>
                <c:pt idx="295">
                  <c:v>21.58</c:v>
                </c:pt>
                <c:pt idx="296">
                  <c:v>20.43</c:v>
                </c:pt>
                <c:pt idx="297">
                  <c:v>19.8</c:v>
                </c:pt>
                <c:pt idx="298">
                  <c:v>19.22</c:v>
                </c:pt>
                <c:pt idx="299">
                  <c:v>19.23</c:v>
                </c:pt>
                <c:pt idx="300">
                  <c:v>19.78</c:v>
                </c:pt>
                <c:pt idx="301">
                  <c:v>19.54</c:v>
                </c:pt>
                <c:pt idx="302">
                  <c:v>19.920000000000002</c:v>
                </c:pt>
                <c:pt idx="303">
                  <c:v>19.71</c:v>
                </c:pt>
                <c:pt idx="304">
                  <c:v>20.23</c:v>
                </c:pt>
                <c:pt idx="305">
                  <c:v>19.46</c:v>
                </c:pt>
                <c:pt idx="306">
                  <c:v>20.52</c:v>
                </c:pt>
                <c:pt idx="307">
                  <c:v>20.09</c:v>
                </c:pt>
                <c:pt idx="308">
                  <c:v>17.510000000000002</c:v>
                </c:pt>
                <c:pt idx="309">
                  <c:v>19.68</c:v>
                </c:pt>
                <c:pt idx="310">
                  <c:v>19.39</c:v>
                </c:pt>
                <c:pt idx="311">
                  <c:v>19.55</c:v>
                </c:pt>
                <c:pt idx="312">
                  <c:v>19.579999999999998</c:v>
                </c:pt>
                <c:pt idx="313">
                  <c:v>19.46</c:v>
                </c:pt>
                <c:pt idx="314">
                  <c:v>19.23</c:v>
                </c:pt>
                <c:pt idx="315">
                  <c:v>19.63</c:v>
                </c:pt>
                <c:pt idx="316">
                  <c:v>20.99</c:v>
                </c:pt>
                <c:pt idx="317">
                  <c:v>20.190000000000001</c:v>
                </c:pt>
                <c:pt idx="318">
                  <c:v>19.559999999999999</c:v>
                </c:pt>
                <c:pt idx="319">
                  <c:v>20.8</c:v>
                </c:pt>
                <c:pt idx="320">
                  <c:v>20.2</c:v>
                </c:pt>
                <c:pt idx="321">
                  <c:v>20.34</c:v>
                </c:pt>
                <c:pt idx="322">
                  <c:v>20.55</c:v>
                </c:pt>
                <c:pt idx="323">
                  <c:v>20.65</c:v>
                </c:pt>
                <c:pt idx="324">
                  <c:v>20.68</c:v>
                </c:pt>
                <c:pt idx="325">
                  <c:v>20.16</c:v>
                </c:pt>
                <c:pt idx="326">
                  <c:v>19.100000000000001</c:v>
                </c:pt>
                <c:pt idx="327">
                  <c:v>20.91</c:v>
                </c:pt>
                <c:pt idx="328">
                  <c:v>20.85</c:v>
                </c:pt>
                <c:pt idx="329">
                  <c:v>20.86</c:v>
                </c:pt>
                <c:pt idx="330">
                  <c:v>20.99</c:v>
                </c:pt>
                <c:pt idx="331">
                  <c:v>20.85</c:v>
                </c:pt>
                <c:pt idx="332">
                  <c:v>21.24</c:v>
                </c:pt>
                <c:pt idx="333">
                  <c:v>22.38</c:v>
                </c:pt>
                <c:pt idx="334">
                  <c:v>23.44</c:v>
                </c:pt>
                <c:pt idx="335">
                  <c:v>23.7</c:v>
                </c:pt>
                <c:pt idx="336">
                  <c:v>22.74</c:v>
                </c:pt>
                <c:pt idx="337">
                  <c:v>23.29</c:v>
                </c:pt>
                <c:pt idx="338">
                  <c:v>24.57</c:v>
                </c:pt>
                <c:pt idx="339">
                  <c:v>25.29</c:v>
                </c:pt>
                <c:pt idx="340">
                  <c:v>26.66</c:v>
                </c:pt>
                <c:pt idx="341">
                  <c:v>26.21</c:v>
                </c:pt>
                <c:pt idx="342">
                  <c:v>26.98</c:v>
                </c:pt>
                <c:pt idx="343">
                  <c:v>27.08</c:v>
                </c:pt>
                <c:pt idx="344">
                  <c:v>29.4</c:v>
                </c:pt>
                <c:pt idx="345">
                  <c:v>26.81</c:v>
                </c:pt>
                <c:pt idx="346">
                  <c:v>27.95</c:v>
                </c:pt>
                <c:pt idx="347">
                  <c:v>27.01</c:v>
                </c:pt>
                <c:pt idx="348">
                  <c:v>27.18</c:v>
                </c:pt>
                <c:pt idx="349">
                  <c:v>27.94</c:v>
                </c:pt>
                <c:pt idx="350">
                  <c:v>28.11</c:v>
                </c:pt>
                <c:pt idx="351">
                  <c:v>28.27</c:v>
                </c:pt>
                <c:pt idx="352">
                  <c:v>29.81</c:v>
                </c:pt>
                <c:pt idx="353">
                  <c:v>29.28</c:v>
                </c:pt>
                <c:pt idx="354">
                  <c:v>30.15</c:v>
                </c:pt>
                <c:pt idx="355">
                  <c:v>29.04</c:v>
                </c:pt>
                <c:pt idx="356">
                  <c:v>29.06</c:v>
                </c:pt>
                <c:pt idx="357">
                  <c:v>29.89</c:v>
                </c:pt>
                <c:pt idx="358">
                  <c:v>29.38</c:v>
                </c:pt>
                <c:pt idx="359">
                  <c:v>29.4</c:v>
                </c:pt>
                <c:pt idx="360">
                  <c:v>30.08</c:v>
                </c:pt>
                <c:pt idx="361">
                  <c:v>30.89</c:v>
                </c:pt>
                <c:pt idx="362">
                  <c:v>30.68</c:v>
                </c:pt>
                <c:pt idx="363">
                  <c:v>32.130000000000003</c:v>
                </c:pt>
                <c:pt idx="364">
                  <c:v>32.71</c:v>
                </c:pt>
                <c:pt idx="365">
                  <c:v>32.39</c:v>
                </c:pt>
                <c:pt idx="366">
                  <c:v>34.67</c:v>
                </c:pt>
                <c:pt idx="367">
                  <c:v>33.79</c:v>
                </c:pt>
                <c:pt idx="368">
                  <c:v>32.58</c:v>
                </c:pt>
                <c:pt idx="369">
                  <c:v>33.369999999999997</c:v>
                </c:pt>
                <c:pt idx="370">
                  <c:v>32.04</c:v>
                </c:pt>
                <c:pt idx="371">
                  <c:v>32.729999999999997</c:v>
                </c:pt>
                <c:pt idx="372">
                  <c:v>31.88</c:v>
                </c:pt>
                <c:pt idx="373">
                  <c:v>32.06</c:v>
                </c:pt>
                <c:pt idx="374">
                  <c:v>34.31</c:v>
                </c:pt>
                <c:pt idx="375">
                  <c:v>33.93</c:v>
                </c:pt>
                <c:pt idx="376">
                  <c:v>34.67</c:v>
                </c:pt>
                <c:pt idx="377">
                  <c:v>33.869999999999997</c:v>
                </c:pt>
                <c:pt idx="378">
                  <c:v>35.229999999999997</c:v>
                </c:pt>
                <c:pt idx="379">
                  <c:v>36.53</c:v>
                </c:pt>
                <c:pt idx="380">
                  <c:v>37.799999999999997</c:v>
                </c:pt>
                <c:pt idx="381">
                  <c:v>37.979999999999997</c:v>
                </c:pt>
                <c:pt idx="382">
                  <c:v>38.119999999999997</c:v>
                </c:pt>
                <c:pt idx="383">
                  <c:v>38.24</c:v>
                </c:pt>
                <c:pt idx="384">
                  <c:v>38.630000000000003</c:v>
                </c:pt>
                <c:pt idx="385">
                  <c:v>37.69</c:v>
                </c:pt>
                <c:pt idx="386">
                  <c:v>36.57</c:v>
                </c:pt>
                <c:pt idx="387">
                  <c:v>39.53</c:v>
                </c:pt>
                <c:pt idx="388">
                  <c:v>39.340000000000003</c:v>
                </c:pt>
                <c:pt idx="389">
                  <c:v>38.4</c:v>
                </c:pt>
                <c:pt idx="390">
                  <c:v>38.03</c:v>
                </c:pt>
                <c:pt idx="391">
                  <c:v>37.81</c:v>
                </c:pt>
                <c:pt idx="392">
                  <c:v>38.869999999999997</c:v>
                </c:pt>
                <c:pt idx="393">
                  <c:v>38.92</c:v>
                </c:pt>
                <c:pt idx="394">
                  <c:v>38.06</c:v>
                </c:pt>
                <c:pt idx="395">
                  <c:v>38.47</c:v>
                </c:pt>
                <c:pt idx="396">
                  <c:v>37.340000000000003</c:v>
                </c:pt>
                <c:pt idx="397">
                  <c:v>37.47</c:v>
                </c:pt>
                <c:pt idx="398">
                  <c:v>34.67</c:v>
                </c:pt>
                <c:pt idx="399">
                  <c:v>33.39</c:v>
                </c:pt>
                <c:pt idx="400">
                  <c:v>33.770000000000003</c:v>
                </c:pt>
                <c:pt idx="401">
                  <c:v>33.24</c:v>
                </c:pt>
                <c:pt idx="402">
                  <c:v>33.909999999999997</c:v>
                </c:pt>
                <c:pt idx="403">
                  <c:v>34.94</c:v>
                </c:pt>
                <c:pt idx="404">
                  <c:v>35.42</c:v>
                </c:pt>
                <c:pt idx="405">
                  <c:v>34.97</c:v>
                </c:pt>
                <c:pt idx="406">
                  <c:v>35.47</c:v>
                </c:pt>
                <c:pt idx="407">
                  <c:v>35.61</c:v>
                </c:pt>
                <c:pt idx="408">
                  <c:v>35.270000000000003</c:v>
                </c:pt>
                <c:pt idx="409">
                  <c:v>34.79</c:v>
                </c:pt>
                <c:pt idx="410">
                  <c:v>34</c:v>
                </c:pt>
                <c:pt idx="411">
                  <c:v>33.86</c:v>
                </c:pt>
                <c:pt idx="412">
                  <c:v>33.04</c:v>
                </c:pt>
                <c:pt idx="413">
                  <c:v>32.770000000000003</c:v>
                </c:pt>
                <c:pt idx="414">
                  <c:v>33.08</c:v>
                </c:pt>
                <c:pt idx="415">
                  <c:v>34.33</c:v>
                </c:pt>
                <c:pt idx="416">
                  <c:v>34.880000000000003</c:v>
                </c:pt>
                <c:pt idx="417">
                  <c:v>35.79</c:v>
                </c:pt>
                <c:pt idx="418">
                  <c:v>36.14</c:v>
                </c:pt>
                <c:pt idx="419">
                  <c:v>37.1</c:v>
                </c:pt>
                <c:pt idx="420">
                  <c:v>36.56</c:v>
                </c:pt>
                <c:pt idx="421">
                  <c:v>36.74</c:v>
                </c:pt>
                <c:pt idx="422">
                  <c:v>36.96</c:v>
                </c:pt>
                <c:pt idx="423">
                  <c:v>35.24</c:v>
                </c:pt>
                <c:pt idx="424">
                  <c:v>36.799999999999997</c:v>
                </c:pt>
                <c:pt idx="425">
                  <c:v>33.82</c:v>
                </c:pt>
                <c:pt idx="426">
                  <c:v>36.92</c:v>
                </c:pt>
                <c:pt idx="427">
                  <c:v>34.96</c:v>
                </c:pt>
                <c:pt idx="428">
                  <c:v>34.409999999999997</c:v>
                </c:pt>
                <c:pt idx="429">
                  <c:v>33.61</c:v>
                </c:pt>
                <c:pt idx="430">
                  <c:v>34.18</c:v>
                </c:pt>
                <c:pt idx="431">
                  <c:v>34.97</c:v>
                </c:pt>
                <c:pt idx="432">
                  <c:v>34.119999999999997</c:v>
                </c:pt>
                <c:pt idx="433">
                  <c:v>35.35</c:v>
                </c:pt>
                <c:pt idx="434">
                  <c:v>33.47</c:v>
                </c:pt>
                <c:pt idx="435">
                  <c:v>35.229999999999997</c:v>
                </c:pt>
                <c:pt idx="436">
                  <c:v>34.97</c:v>
                </c:pt>
                <c:pt idx="437">
                  <c:v>36.01</c:v>
                </c:pt>
                <c:pt idx="439">
                  <c:v>33.479999999999997</c:v>
                </c:pt>
                <c:pt idx="440">
                  <c:v>32.22</c:v>
                </c:pt>
                <c:pt idx="441">
                  <c:v>28.83</c:v>
                </c:pt>
                <c:pt idx="442">
                  <c:v>29.67</c:v>
                </c:pt>
                <c:pt idx="443">
                  <c:v>34.03</c:v>
                </c:pt>
                <c:pt idx="444">
                  <c:v>34.83</c:v>
                </c:pt>
                <c:pt idx="445">
                  <c:v>34</c:v>
                </c:pt>
                <c:pt idx="446">
                  <c:v>32.54</c:v>
                </c:pt>
                <c:pt idx="447">
                  <c:v>31.42</c:v>
                </c:pt>
                <c:pt idx="448">
                  <c:v>33.61</c:v>
                </c:pt>
                <c:pt idx="449">
                  <c:v>30.59</c:v>
                </c:pt>
                <c:pt idx="450">
                  <c:v>29.71</c:v>
                </c:pt>
                <c:pt idx="451">
                  <c:v>29.85</c:v>
                </c:pt>
                <c:pt idx="452">
                  <c:v>30.61</c:v>
                </c:pt>
                <c:pt idx="453">
                  <c:v>29.36</c:v>
                </c:pt>
                <c:pt idx="454">
                  <c:v>29.08</c:v>
                </c:pt>
                <c:pt idx="455">
                  <c:v>30.14</c:v>
                </c:pt>
                <c:pt idx="456">
                  <c:v>30.91</c:v>
                </c:pt>
                <c:pt idx="457">
                  <c:v>29.78</c:v>
                </c:pt>
                <c:pt idx="458">
                  <c:v>28.65</c:v>
                </c:pt>
                <c:pt idx="459">
                  <c:v>27.4</c:v>
                </c:pt>
                <c:pt idx="460">
                  <c:v>27.18</c:v>
                </c:pt>
                <c:pt idx="461">
                  <c:v>27.8</c:v>
                </c:pt>
                <c:pt idx="462">
                  <c:v>27.57</c:v>
                </c:pt>
                <c:pt idx="463">
                  <c:v>27.78</c:v>
                </c:pt>
                <c:pt idx="464">
                  <c:v>28.66</c:v>
                </c:pt>
                <c:pt idx="465">
                  <c:v>28.43</c:v>
                </c:pt>
                <c:pt idx="466">
                  <c:v>28.78</c:v>
                </c:pt>
                <c:pt idx="467">
                  <c:v>27.79</c:v>
                </c:pt>
                <c:pt idx="468">
                  <c:v>29.02</c:v>
                </c:pt>
                <c:pt idx="469">
                  <c:v>30.18</c:v>
                </c:pt>
                <c:pt idx="470">
                  <c:v>28.9</c:v>
                </c:pt>
                <c:pt idx="471">
                  <c:v>29.5</c:v>
                </c:pt>
                <c:pt idx="472">
                  <c:v>29.89</c:v>
                </c:pt>
                <c:pt idx="473">
                  <c:v>28.89</c:v>
                </c:pt>
                <c:pt idx="474">
                  <c:v>28.81</c:v>
                </c:pt>
                <c:pt idx="475">
                  <c:v>28.85</c:v>
                </c:pt>
                <c:pt idx="476">
                  <c:v>28.28</c:v>
                </c:pt>
                <c:pt idx="477">
                  <c:v>27.72</c:v>
                </c:pt>
                <c:pt idx="478">
                  <c:v>28.99</c:v>
                </c:pt>
                <c:pt idx="479">
                  <c:v>29.51</c:v>
                </c:pt>
                <c:pt idx="480">
                  <c:v>29.23</c:v>
                </c:pt>
                <c:pt idx="481">
                  <c:v>29.5</c:v>
                </c:pt>
                <c:pt idx="482">
                  <c:v>28.23</c:v>
                </c:pt>
                <c:pt idx="483">
                  <c:v>28.62</c:v>
                </c:pt>
                <c:pt idx="495">
                  <c:v>32.700000000000003</c:v>
                </c:pt>
                <c:pt idx="496">
                  <c:v>33.01</c:v>
                </c:pt>
                <c:pt idx="497">
                  <c:v>31.81</c:v>
                </c:pt>
                <c:pt idx="498">
                  <c:v>31.55</c:v>
                </c:pt>
                <c:pt idx="499">
                  <c:v>29.75</c:v>
                </c:pt>
                <c:pt idx="500">
                  <c:v>28.32</c:v>
                </c:pt>
                <c:pt idx="501">
                  <c:v>27.69</c:v>
                </c:pt>
                <c:pt idx="502">
                  <c:v>29.61</c:v>
                </c:pt>
                <c:pt idx="503">
                  <c:v>28.19</c:v>
                </c:pt>
                <c:pt idx="504">
                  <c:v>26.86</c:v>
                </c:pt>
                <c:pt idx="505">
                  <c:v>27.55</c:v>
                </c:pt>
                <c:pt idx="506">
                  <c:v>32.33</c:v>
                </c:pt>
                <c:pt idx="507">
                  <c:v>31.89</c:v>
                </c:pt>
                <c:pt idx="508">
                  <c:v>32.82</c:v>
                </c:pt>
                <c:pt idx="509">
                  <c:v>29.42</c:v>
                </c:pt>
                <c:pt idx="510">
                  <c:v>29.05</c:v>
                </c:pt>
                <c:pt idx="511">
                  <c:v>30.04</c:v>
                </c:pt>
                <c:pt idx="512">
                  <c:v>28.75</c:v>
                </c:pt>
                <c:pt idx="513">
                  <c:v>30.71</c:v>
                </c:pt>
                <c:pt idx="514">
                  <c:v>30.89</c:v>
                </c:pt>
                <c:pt idx="515">
                  <c:v>31.66</c:v>
                </c:pt>
                <c:pt idx="516">
                  <c:v>31.83</c:v>
                </c:pt>
                <c:pt idx="517">
                  <c:v>30.08</c:v>
                </c:pt>
                <c:pt idx="518">
                  <c:v>31.09</c:v>
                </c:pt>
                <c:pt idx="519">
                  <c:v>31.74</c:v>
                </c:pt>
                <c:pt idx="520">
                  <c:v>34.729999999999997</c:v>
                </c:pt>
                <c:pt idx="521">
                  <c:v>32.520000000000003</c:v>
                </c:pt>
                <c:pt idx="522">
                  <c:v>33.97</c:v>
                </c:pt>
                <c:pt idx="523">
                  <c:v>33.659999999999997</c:v>
                </c:pt>
                <c:pt idx="524">
                  <c:v>33.43</c:v>
                </c:pt>
                <c:pt idx="525">
                  <c:v>33.69</c:v>
                </c:pt>
                <c:pt idx="526">
                  <c:v>34.869999999999997</c:v>
                </c:pt>
                <c:pt idx="527">
                  <c:v>35.71</c:v>
                </c:pt>
                <c:pt idx="528">
                  <c:v>35.99</c:v>
                </c:pt>
                <c:pt idx="529">
                  <c:v>37.090000000000003</c:v>
                </c:pt>
                <c:pt idx="530">
                  <c:v>37.96</c:v>
                </c:pt>
                <c:pt idx="531">
                  <c:v>36.270000000000003</c:v>
                </c:pt>
                <c:pt idx="532">
                  <c:v>39.03</c:v>
                </c:pt>
                <c:pt idx="533">
                  <c:v>38.159999999999997</c:v>
                </c:pt>
                <c:pt idx="534">
                  <c:v>37.520000000000003</c:v>
                </c:pt>
                <c:pt idx="535">
                  <c:v>37.869999999999997</c:v>
                </c:pt>
                <c:pt idx="536">
                  <c:v>38.86</c:v>
                </c:pt>
                <c:pt idx="537">
                  <c:v>40.659999999999997</c:v>
                </c:pt>
                <c:pt idx="538">
                  <c:v>42.07</c:v>
                </c:pt>
                <c:pt idx="539">
                  <c:v>40.869999999999997</c:v>
                </c:pt>
                <c:pt idx="540">
                  <c:v>39.21</c:v>
                </c:pt>
                <c:pt idx="541">
                  <c:v>42.86</c:v>
                </c:pt>
                <c:pt idx="542">
                  <c:v>43.75</c:v>
                </c:pt>
                <c:pt idx="543">
                  <c:v>40.43</c:v>
                </c:pt>
                <c:pt idx="544">
                  <c:v>39.090000000000003</c:v>
                </c:pt>
                <c:pt idx="545">
                  <c:v>38.01</c:v>
                </c:pt>
                <c:pt idx="546">
                  <c:v>38.29</c:v>
                </c:pt>
                <c:pt idx="547">
                  <c:v>37.270000000000003</c:v>
                </c:pt>
                <c:pt idx="548">
                  <c:v>37.72</c:v>
                </c:pt>
                <c:pt idx="549">
                  <c:v>37.659999999999997</c:v>
                </c:pt>
                <c:pt idx="550">
                  <c:v>37.76</c:v>
                </c:pt>
                <c:pt idx="551">
                  <c:v>39.549999999999997</c:v>
                </c:pt>
                <c:pt idx="552">
                  <c:v>39.94</c:v>
                </c:pt>
                <c:pt idx="553">
                  <c:v>39.04</c:v>
                </c:pt>
                <c:pt idx="554">
                  <c:v>40.03</c:v>
                </c:pt>
                <c:pt idx="555">
                  <c:v>38.93</c:v>
                </c:pt>
                <c:pt idx="556">
                  <c:v>42.32</c:v>
                </c:pt>
                <c:pt idx="557">
                  <c:v>39.36</c:v>
                </c:pt>
                <c:pt idx="558">
                  <c:v>38.15</c:v>
                </c:pt>
                <c:pt idx="559">
                  <c:v>38.33</c:v>
                </c:pt>
                <c:pt idx="560">
                  <c:v>39.74</c:v>
                </c:pt>
                <c:pt idx="563">
                  <c:v>38.04</c:v>
                </c:pt>
                <c:pt idx="564">
                  <c:v>46.99</c:v>
                </c:pt>
                <c:pt idx="565">
                  <c:v>38.5</c:v>
                </c:pt>
                <c:pt idx="566">
                  <c:v>39.22</c:v>
                </c:pt>
                <c:pt idx="567">
                  <c:v>39.47</c:v>
                </c:pt>
                <c:pt idx="568">
                  <c:v>39.72</c:v>
                </c:pt>
                <c:pt idx="569">
                  <c:v>39.94</c:v>
                </c:pt>
                <c:pt idx="570">
                  <c:v>40.86</c:v>
                </c:pt>
                <c:pt idx="571">
                  <c:v>38.270000000000003</c:v>
                </c:pt>
                <c:pt idx="572">
                  <c:v>40.75</c:v>
                </c:pt>
                <c:pt idx="573">
                  <c:v>39.909999999999997</c:v>
                </c:pt>
                <c:pt idx="574">
                  <c:v>40.270000000000003</c:v>
                </c:pt>
                <c:pt idx="575">
                  <c:v>40.36</c:v>
                </c:pt>
                <c:pt idx="576">
                  <c:v>42.03</c:v>
                </c:pt>
                <c:pt idx="577">
                  <c:v>41.65</c:v>
                </c:pt>
                <c:pt idx="578">
                  <c:v>42</c:v>
                </c:pt>
                <c:pt idx="579">
                  <c:v>42</c:v>
                </c:pt>
                <c:pt idx="580">
                  <c:v>41.28</c:v>
                </c:pt>
                <c:pt idx="581">
                  <c:v>40.92</c:v>
                </c:pt>
                <c:pt idx="582">
                  <c:v>42.2</c:v>
                </c:pt>
                <c:pt idx="583">
                  <c:v>41.69</c:v>
                </c:pt>
                <c:pt idx="584">
                  <c:v>41.09</c:v>
                </c:pt>
                <c:pt idx="585">
                  <c:v>42.25</c:v>
                </c:pt>
                <c:pt idx="586">
                  <c:v>43.64</c:v>
                </c:pt>
                <c:pt idx="587">
                  <c:v>43.11</c:v>
                </c:pt>
                <c:pt idx="588">
                  <c:v>42.13</c:v>
                </c:pt>
                <c:pt idx="589">
                  <c:v>43.4</c:v>
                </c:pt>
                <c:pt idx="590">
                  <c:v>43.18</c:v>
                </c:pt>
                <c:pt idx="591">
                  <c:v>43.91</c:v>
                </c:pt>
                <c:pt idx="592">
                  <c:v>41.45</c:v>
                </c:pt>
                <c:pt idx="593">
                  <c:v>45.81</c:v>
                </c:pt>
                <c:pt idx="594">
                  <c:v>40.35</c:v>
                </c:pt>
                <c:pt idx="595">
                  <c:v>38.28</c:v>
                </c:pt>
                <c:pt idx="596">
                  <c:v>39.46</c:v>
                </c:pt>
                <c:pt idx="597">
                  <c:v>38.17</c:v>
                </c:pt>
                <c:pt idx="598">
                  <c:v>37.11</c:v>
                </c:pt>
                <c:pt idx="599">
                  <c:v>39.520000000000003</c:v>
                </c:pt>
                <c:pt idx="600">
                  <c:v>38.49</c:v>
                </c:pt>
                <c:pt idx="601">
                  <c:v>40.06</c:v>
                </c:pt>
                <c:pt idx="602">
                  <c:v>39.659999999999997</c:v>
                </c:pt>
                <c:pt idx="603">
                  <c:v>38.54</c:v>
                </c:pt>
                <c:pt idx="604">
                  <c:v>39.14</c:v>
                </c:pt>
                <c:pt idx="605">
                  <c:v>40.28</c:v>
                </c:pt>
                <c:pt idx="606">
                  <c:v>38.72</c:v>
                </c:pt>
                <c:pt idx="607">
                  <c:v>36.68</c:v>
                </c:pt>
                <c:pt idx="608">
                  <c:v>39.630000000000003</c:v>
                </c:pt>
                <c:pt idx="609">
                  <c:v>38.869999999999997</c:v>
                </c:pt>
                <c:pt idx="610">
                  <c:v>37.229999999999997</c:v>
                </c:pt>
                <c:pt idx="611">
                  <c:v>36.65</c:v>
                </c:pt>
                <c:pt idx="612">
                  <c:v>39.21</c:v>
                </c:pt>
                <c:pt idx="613">
                  <c:v>37.32</c:v>
                </c:pt>
                <c:pt idx="614">
                  <c:v>37.24</c:v>
                </c:pt>
                <c:pt idx="615">
                  <c:v>38.549999999999997</c:v>
                </c:pt>
                <c:pt idx="620">
                  <c:v>38.450000000000003</c:v>
                </c:pt>
                <c:pt idx="621">
                  <c:v>37.130000000000003</c:v>
                </c:pt>
                <c:pt idx="622">
                  <c:v>37.590000000000003</c:v>
                </c:pt>
                <c:pt idx="623">
                  <c:v>38.700000000000003</c:v>
                </c:pt>
                <c:pt idx="624">
                  <c:v>37.54</c:v>
                </c:pt>
                <c:pt idx="625">
                  <c:v>39.950000000000003</c:v>
                </c:pt>
                <c:pt idx="626">
                  <c:v>38.18</c:v>
                </c:pt>
                <c:pt idx="627">
                  <c:v>37.74</c:v>
                </c:pt>
                <c:pt idx="628">
                  <c:v>36.36</c:v>
                </c:pt>
                <c:pt idx="629">
                  <c:v>38.770000000000003</c:v>
                </c:pt>
                <c:pt idx="630">
                  <c:v>38.86</c:v>
                </c:pt>
                <c:pt idx="631">
                  <c:v>37.67</c:v>
                </c:pt>
                <c:pt idx="632">
                  <c:v>38.36</c:v>
                </c:pt>
                <c:pt idx="633">
                  <c:v>37.409999999999997</c:v>
                </c:pt>
                <c:pt idx="634">
                  <c:v>37.64</c:v>
                </c:pt>
                <c:pt idx="635">
                  <c:v>38.909999999999997</c:v>
                </c:pt>
                <c:pt idx="636">
                  <c:v>37.729999999999997</c:v>
                </c:pt>
                <c:pt idx="637">
                  <c:v>36.54</c:v>
                </c:pt>
                <c:pt idx="638">
                  <c:v>38.020000000000003</c:v>
                </c:pt>
                <c:pt idx="639">
                  <c:v>36.22</c:v>
                </c:pt>
                <c:pt idx="640">
                  <c:v>34.6</c:v>
                </c:pt>
                <c:pt idx="641">
                  <c:v>34.119999999999997</c:v>
                </c:pt>
                <c:pt idx="642">
                  <c:v>37.479999999999997</c:v>
                </c:pt>
                <c:pt idx="643">
                  <c:v>35.450000000000003</c:v>
                </c:pt>
                <c:pt idx="644">
                  <c:v>35.75</c:v>
                </c:pt>
                <c:pt idx="645">
                  <c:v>35.659999999999997</c:v>
                </c:pt>
                <c:pt idx="646">
                  <c:v>35.75</c:v>
                </c:pt>
                <c:pt idx="647">
                  <c:v>36.08</c:v>
                </c:pt>
                <c:pt idx="648">
                  <c:v>35.57</c:v>
                </c:pt>
                <c:pt idx="649">
                  <c:v>33.61</c:v>
                </c:pt>
                <c:pt idx="650">
                  <c:v>32.22</c:v>
                </c:pt>
                <c:pt idx="651">
                  <c:v>33.01</c:v>
                </c:pt>
                <c:pt idx="652">
                  <c:v>32.159999999999997</c:v>
                </c:pt>
                <c:pt idx="653">
                  <c:v>32.81</c:v>
                </c:pt>
                <c:pt idx="654">
                  <c:v>31.85</c:v>
                </c:pt>
                <c:pt idx="655">
                  <c:v>32.299999999999997</c:v>
                </c:pt>
                <c:pt idx="656">
                  <c:v>32.03</c:v>
                </c:pt>
                <c:pt idx="657">
                  <c:v>30.73</c:v>
                </c:pt>
                <c:pt idx="658">
                  <c:v>32.74</c:v>
                </c:pt>
                <c:pt idx="659">
                  <c:v>32.869999999999997</c:v>
                </c:pt>
                <c:pt idx="660">
                  <c:v>32.090000000000003</c:v>
                </c:pt>
                <c:pt idx="661">
                  <c:v>34.909999999999997</c:v>
                </c:pt>
                <c:pt idx="662">
                  <c:v>38.35</c:v>
                </c:pt>
                <c:pt idx="663">
                  <c:v>34.31</c:v>
                </c:pt>
                <c:pt idx="664">
                  <c:v>36.590000000000003</c:v>
                </c:pt>
                <c:pt idx="665">
                  <c:v>35.36</c:v>
                </c:pt>
                <c:pt idx="666">
                  <c:v>32.71</c:v>
                </c:pt>
                <c:pt idx="667">
                  <c:v>27.14</c:v>
                </c:pt>
                <c:pt idx="668">
                  <c:v>34.74</c:v>
                </c:pt>
                <c:pt idx="669">
                  <c:v>34.35</c:v>
                </c:pt>
                <c:pt idx="670">
                  <c:v>32.549999999999997</c:v>
                </c:pt>
                <c:pt idx="671">
                  <c:v>34.450000000000003</c:v>
                </c:pt>
                <c:pt idx="672">
                  <c:v>32.15</c:v>
                </c:pt>
                <c:pt idx="673">
                  <c:v>32.65</c:v>
                </c:pt>
                <c:pt idx="674">
                  <c:v>33.76</c:v>
                </c:pt>
                <c:pt idx="675">
                  <c:v>34.99</c:v>
                </c:pt>
                <c:pt idx="676">
                  <c:v>32.56</c:v>
                </c:pt>
                <c:pt idx="677">
                  <c:v>31.62</c:v>
                </c:pt>
                <c:pt idx="678">
                  <c:v>31.04</c:v>
                </c:pt>
                <c:pt idx="679">
                  <c:v>33.6</c:v>
                </c:pt>
                <c:pt idx="680">
                  <c:v>32.86</c:v>
                </c:pt>
                <c:pt idx="681">
                  <c:v>34.89</c:v>
                </c:pt>
                <c:pt idx="682">
                  <c:v>33.44</c:v>
                </c:pt>
                <c:pt idx="683">
                  <c:v>33.35</c:v>
                </c:pt>
                <c:pt idx="684">
                  <c:v>33.08</c:v>
                </c:pt>
                <c:pt idx="685">
                  <c:v>34.090000000000003</c:v>
                </c:pt>
                <c:pt idx="686">
                  <c:v>33.229999999999997</c:v>
                </c:pt>
                <c:pt idx="687">
                  <c:v>33.99</c:v>
                </c:pt>
                <c:pt idx="688">
                  <c:v>33.6</c:v>
                </c:pt>
                <c:pt idx="689">
                  <c:v>34.78</c:v>
                </c:pt>
                <c:pt idx="690">
                  <c:v>36.270000000000003</c:v>
                </c:pt>
                <c:pt idx="691">
                  <c:v>33.979999999999997</c:v>
                </c:pt>
                <c:pt idx="692">
                  <c:v>34.72</c:v>
                </c:pt>
                <c:pt idx="693">
                  <c:v>32.08</c:v>
                </c:pt>
                <c:pt idx="694">
                  <c:v>27.85</c:v>
                </c:pt>
                <c:pt idx="695">
                  <c:v>30.76</c:v>
                </c:pt>
                <c:pt idx="696">
                  <c:v>28.2</c:v>
                </c:pt>
                <c:pt idx="697">
                  <c:v>29.53</c:v>
                </c:pt>
                <c:pt idx="698">
                  <c:v>32.18</c:v>
                </c:pt>
                <c:pt idx="699">
                  <c:v>29.71</c:v>
                </c:pt>
                <c:pt idx="700">
                  <c:v>32.979999999999997</c:v>
                </c:pt>
                <c:pt idx="701">
                  <c:v>30.77</c:v>
                </c:pt>
                <c:pt idx="702">
                  <c:v>31.64</c:v>
                </c:pt>
                <c:pt idx="703">
                  <c:v>30.42</c:v>
                </c:pt>
                <c:pt idx="704">
                  <c:v>33.57</c:v>
                </c:pt>
                <c:pt idx="705">
                  <c:v>31.21</c:v>
                </c:pt>
                <c:pt idx="706">
                  <c:v>32.32</c:v>
                </c:pt>
                <c:pt idx="707">
                  <c:v>30.59</c:v>
                </c:pt>
                <c:pt idx="708">
                  <c:v>30.07</c:v>
                </c:pt>
                <c:pt idx="709">
                  <c:v>28.7</c:v>
                </c:pt>
                <c:pt idx="710">
                  <c:v>30.32</c:v>
                </c:pt>
                <c:pt idx="711">
                  <c:v>31.23</c:v>
                </c:pt>
                <c:pt idx="712">
                  <c:v>31.43</c:v>
                </c:pt>
                <c:pt idx="713">
                  <c:v>32.549999999999997</c:v>
                </c:pt>
                <c:pt idx="714">
                  <c:v>32.74</c:v>
                </c:pt>
                <c:pt idx="715">
                  <c:v>32.33</c:v>
                </c:pt>
                <c:pt idx="716">
                  <c:v>30.92</c:v>
                </c:pt>
                <c:pt idx="717">
                  <c:v>30.08</c:v>
                </c:pt>
                <c:pt idx="718">
                  <c:v>33.03</c:v>
                </c:pt>
                <c:pt idx="719">
                  <c:v>28.98</c:v>
                </c:pt>
                <c:pt idx="720">
                  <c:v>29.31</c:v>
                </c:pt>
                <c:pt idx="721">
                  <c:v>29.32</c:v>
                </c:pt>
                <c:pt idx="722">
                  <c:v>30.28</c:v>
                </c:pt>
                <c:pt idx="723">
                  <c:v>29.8</c:v>
                </c:pt>
                <c:pt idx="724">
                  <c:v>29.89</c:v>
                </c:pt>
                <c:pt idx="725">
                  <c:v>32.619999999999997</c:v>
                </c:pt>
                <c:pt idx="726">
                  <c:v>31.85</c:v>
                </c:pt>
                <c:pt idx="727">
                  <c:v>30.85</c:v>
                </c:pt>
                <c:pt idx="728">
                  <c:v>30.47</c:v>
                </c:pt>
                <c:pt idx="729">
                  <c:v>29.54</c:v>
                </c:pt>
                <c:pt idx="730">
                  <c:v>32.17</c:v>
                </c:pt>
                <c:pt idx="731">
                  <c:v>32.28</c:v>
                </c:pt>
                <c:pt idx="732">
                  <c:v>31.55</c:v>
                </c:pt>
                <c:pt idx="733">
                  <c:v>31.04</c:v>
                </c:pt>
                <c:pt idx="734">
                  <c:v>37.43</c:v>
                </c:pt>
                <c:pt idx="735">
                  <c:v>33.82</c:v>
                </c:pt>
                <c:pt idx="736">
                  <c:v>34.270000000000003</c:v>
                </c:pt>
                <c:pt idx="737">
                  <c:v>34.15</c:v>
                </c:pt>
                <c:pt idx="738">
                  <c:v>32.04</c:v>
                </c:pt>
                <c:pt idx="739">
                  <c:v>33</c:v>
                </c:pt>
                <c:pt idx="740">
                  <c:v>33.700000000000003</c:v>
                </c:pt>
                <c:pt idx="741">
                  <c:v>31.54</c:v>
                </c:pt>
                <c:pt idx="742">
                  <c:v>29.87</c:v>
                </c:pt>
                <c:pt idx="743">
                  <c:v>29.67</c:v>
                </c:pt>
                <c:pt idx="744">
                  <c:v>31.67</c:v>
                </c:pt>
                <c:pt idx="745">
                  <c:v>32.42</c:v>
                </c:pt>
                <c:pt idx="746">
                  <c:v>32.479999999999997</c:v>
                </c:pt>
                <c:pt idx="747">
                  <c:v>33.56</c:v>
                </c:pt>
                <c:pt idx="748">
                  <c:v>32.53</c:v>
                </c:pt>
                <c:pt idx="749">
                  <c:v>33</c:v>
                </c:pt>
                <c:pt idx="750">
                  <c:v>34.69</c:v>
                </c:pt>
                <c:pt idx="751">
                  <c:v>37.130000000000003</c:v>
                </c:pt>
                <c:pt idx="752">
                  <c:v>34.700000000000003</c:v>
                </c:pt>
                <c:pt idx="753">
                  <c:v>36.1</c:v>
                </c:pt>
                <c:pt idx="754">
                  <c:v>35.03</c:v>
                </c:pt>
                <c:pt idx="755">
                  <c:v>33.99</c:v>
                </c:pt>
                <c:pt idx="756">
                  <c:v>34.799999999999997</c:v>
                </c:pt>
                <c:pt idx="757">
                  <c:v>34.65</c:v>
                </c:pt>
                <c:pt idx="758">
                  <c:v>34.07</c:v>
                </c:pt>
                <c:pt idx="759">
                  <c:v>33.75</c:v>
                </c:pt>
                <c:pt idx="760">
                  <c:v>35.380000000000003</c:v>
                </c:pt>
                <c:pt idx="761">
                  <c:v>35.47</c:v>
                </c:pt>
                <c:pt idx="762">
                  <c:v>35.56</c:v>
                </c:pt>
                <c:pt idx="763">
                  <c:v>35.409999999999997</c:v>
                </c:pt>
                <c:pt idx="764">
                  <c:v>35.630000000000003</c:v>
                </c:pt>
                <c:pt idx="765">
                  <c:v>38.31</c:v>
                </c:pt>
                <c:pt idx="766">
                  <c:v>37.21</c:v>
                </c:pt>
                <c:pt idx="767">
                  <c:v>35.61</c:v>
                </c:pt>
                <c:pt idx="768">
                  <c:v>35.69</c:v>
                </c:pt>
                <c:pt idx="769">
                  <c:v>38</c:v>
                </c:pt>
                <c:pt idx="770">
                  <c:v>35.96</c:v>
                </c:pt>
                <c:pt idx="771">
                  <c:v>36.6</c:v>
                </c:pt>
                <c:pt idx="773">
                  <c:v>36.86</c:v>
                </c:pt>
                <c:pt idx="774">
                  <c:v>42.36</c:v>
                </c:pt>
                <c:pt idx="775">
                  <c:v>38.96</c:v>
                </c:pt>
                <c:pt idx="776">
                  <c:v>40.51</c:v>
                </c:pt>
                <c:pt idx="777">
                  <c:v>41.96</c:v>
                </c:pt>
                <c:pt idx="778">
                  <c:v>41.14</c:v>
                </c:pt>
                <c:pt idx="779">
                  <c:v>41.95</c:v>
                </c:pt>
                <c:pt idx="780">
                  <c:v>43</c:v>
                </c:pt>
                <c:pt idx="781">
                  <c:v>41.35</c:v>
                </c:pt>
                <c:pt idx="782">
                  <c:v>42.34</c:v>
                </c:pt>
                <c:pt idx="783">
                  <c:v>38.75</c:v>
                </c:pt>
                <c:pt idx="784">
                  <c:v>40.020000000000003</c:v>
                </c:pt>
                <c:pt idx="785">
                  <c:v>40.049999999999997</c:v>
                </c:pt>
                <c:pt idx="786">
                  <c:v>40.33</c:v>
                </c:pt>
                <c:pt idx="787">
                  <c:v>41.29</c:v>
                </c:pt>
                <c:pt idx="788">
                  <c:v>39.39</c:v>
                </c:pt>
                <c:pt idx="789">
                  <c:v>39.49</c:v>
                </c:pt>
                <c:pt idx="790">
                  <c:v>39.86</c:v>
                </c:pt>
                <c:pt idx="791">
                  <c:v>39.39</c:v>
                </c:pt>
                <c:pt idx="792">
                  <c:v>41.92</c:v>
                </c:pt>
                <c:pt idx="793">
                  <c:v>42.75</c:v>
                </c:pt>
                <c:pt idx="794">
                  <c:v>40.44</c:v>
                </c:pt>
                <c:pt idx="795">
                  <c:v>41.34</c:v>
                </c:pt>
                <c:pt idx="796">
                  <c:v>44.45</c:v>
                </c:pt>
                <c:pt idx="797">
                  <c:v>40.380000000000003</c:v>
                </c:pt>
                <c:pt idx="798">
                  <c:v>42.28</c:v>
                </c:pt>
                <c:pt idx="799">
                  <c:v>40.020000000000003</c:v>
                </c:pt>
                <c:pt idx="800">
                  <c:v>43.42</c:v>
                </c:pt>
                <c:pt idx="801">
                  <c:v>41.56</c:v>
                </c:pt>
                <c:pt idx="802">
                  <c:v>43.82</c:v>
                </c:pt>
                <c:pt idx="803">
                  <c:v>40.29</c:v>
                </c:pt>
                <c:pt idx="804">
                  <c:v>42.1</c:v>
                </c:pt>
                <c:pt idx="805" formatCode="General">
                  <c:v>41.49</c:v>
                </c:pt>
                <c:pt idx="806" formatCode="General">
                  <c:v>0</c:v>
                </c:pt>
                <c:pt idx="807" formatCode="General">
                  <c:v>43.2</c:v>
                </c:pt>
              </c:numCache>
            </c:numRef>
          </c:val>
          <c:smooth val="0"/>
          <c:extLst>
            <c:ext xmlns:c16="http://schemas.microsoft.com/office/drawing/2014/chart" uri="{C3380CC4-5D6E-409C-BE32-E72D297353CC}">
              <c16:uniqueId val="{00000000-3F6B-4BC8-879F-E7F3AACA41E9}"/>
            </c:ext>
          </c:extLst>
        </c:ser>
        <c:dLbls>
          <c:showLegendKey val="0"/>
          <c:showVal val="0"/>
          <c:showCatName val="0"/>
          <c:showSerName val="0"/>
          <c:showPercent val="0"/>
          <c:showBubbleSize val="0"/>
        </c:dLbls>
        <c:smooth val="0"/>
        <c:axId val="2063497104"/>
        <c:axId val="1"/>
      </c:lineChart>
      <c:catAx>
        <c:axId val="206349710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49710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Lean cows</a:t>
            </a:r>
          </a:p>
        </c:rich>
      </c:tx>
      <c:overlay val="0"/>
    </c:title>
    <c:autoTitleDeleted val="0"/>
    <c:plotArea>
      <c:layout/>
      <c:lineChart>
        <c:grouping val="standard"/>
        <c:varyColors val="0"/>
        <c:ser>
          <c:idx val="6"/>
          <c:order val="0"/>
          <c:tx>
            <c:strRef>
              <c:f>Summary!$L$3</c:f>
              <c:strCache>
                <c:ptCount val="1"/>
                <c:pt idx="0">
                  <c:v>Lean cows</c:v>
                </c:pt>
              </c:strCache>
            </c:strRef>
          </c:tx>
          <c:spPr>
            <a:ln w="12700">
              <a:solidFill>
                <a:schemeClr val="tx1"/>
              </a:solidFill>
            </a:ln>
          </c:spPr>
          <c:marker>
            <c:symbol val="none"/>
          </c:marker>
          <c:cat>
            <c:numRef>
              <c:f>Summary!$B$392:$B$832</c:f>
              <c:numCache>
                <c:formatCode>General</c:formatCode>
                <c:ptCount val="441"/>
                <c:pt idx="0">
                  <c:v>2018</c:v>
                </c:pt>
                <c:pt idx="50">
                  <c:v>2019</c:v>
                </c:pt>
                <c:pt idx="100">
                  <c:v>2020</c:v>
                </c:pt>
                <c:pt idx="148">
                  <c:v>2021</c:v>
                </c:pt>
                <c:pt idx="196">
                  <c:v>2022</c:v>
                </c:pt>
                <c:pt idx="246">
                  <c:v>2023</c:v>
                </c:pt>
                <c:pt idx="296">
                  <c:v>2024</c:v>
                </c:pt>
                <c:pt idx="346">
                  <c:v>2025</c:v>
                </c:pt>
                <c:pt idx="393">
                  <c:v>2026</c:v>
                </c:pt>
              </c:numCache>
            </c:numRef>
          </c:cat>
          <c:val>
            <c:numRef>
              <c:f>Summary!$L$392:$L$832</c:f>
              <c:numCache>
                <c:formatCode>0.00</c:formatCode>
                <c:ptCount val="441"/>
                <c:pt idx="26">
                  <c:v>18.260000000000002</c:v>
                </c:pt>
                <c:pt idx="27">
                  <c:v>19.03</c:v>
                </c:pt>
                <c:pt idx="28">
                  <c:v>18.399999999999999</c:v>
                </c:pt>
                <c:pt idx="29">
                  <c:v>20.190000000000001</c:v>
                </c:pt>
                <c:pt idx="30">
                  <c:v>19.63</c:v>
                </c:pt>
                <c:pt idx="31">
                  <c:v>19.98</c:v>
                </c:pt>
                <c:pt idx="32">
                  <c:v>21.06</c:v>
                </c:pt>
                <c:pt idx="33">
                  <c:v>19.98</c:v>
                </c:pt>
                <c:pt idx="34">
                  <c:v>19.52</c:v>
                </c:pt>
                <c:pt idx="35">
                  <c:v>20.85</c:v>
                </c:pt>
                <c:pt idx="36">
                  <c:v>21.31</c:v>
                </c:pt>
                <c:pt idx="37">
                  <c:v>21.47</c:v>
                </c:pt>
                <c:pt idx="38">
                  <c:v>21.52</c:v>
                </c:pt>
                <c:pt idx="39">
                  <c:v>21.47</c:v>
                </c:pt>
                <c:pt idx="40">
                  <c:v>21.68</c:v>
                </c:pt>
                <c:pt idx="41">
                  <c:v>21.88</c:v>
                </c:pt>
                <c:pt idx="42">
                  <c:v>21.19</c:v>
                </c:pt>
                <c:pt idx="43">
                  <c:v>21.68</c:v>
                </c:pt>
                <c:pt idx="44">
                  <c:v>21.2</c:v>
                </c:pt>
                <c:pt idx="45">
                  <c:v>20.45</c:v>
                </c:pt>
                <c:pt idx="46">
                  <c:v>20.41</c:v>
                </c:pt>
                <c:pt idx="47">
                  <c:v>21.89</c:v>
                </c:pt>
                <c:pt idx="48">
                  <c:v>22.33</c:v>
                </c:pt>
                <c:pt idx="49">
                  <c:v>22.94</c:v>
                </c:pt>
                <c:pt idx="51">
                  <c:v>20.89</c:v>
                </c:pt>
                <c:pt idx="52">
                  <c:v>19.47</c:v>
                </c:pt>
                <c:pt idx="53">
                  <c:v>18.28</c:v>
                </c:pt>
                <c:pt idx="54">
                  <c:v>18.96</c:v>
                </c:pt>
                <c:pt idx="55">
                  <c:v>20.07</c:v>
                </c:pt>
                <c:pt idx="56">
                  <c:v>20.14</c:v>
                </c:pt>
                <c:pt idx="57">
                  <c:v>19.28</c:v>
                </c:pt>
                <c:pt idx="58">
                  <c:v>19.18</c:v>
                </c:pt>
                <c:pt idx="59">
                  <c:v>19.45</c:v>
                </c:pt>
                <c:pt idx="60">
                  <c:v>18.34</c:v>
                </c:pt>
                <c:pt idx="61">
                  <c:v>17.88</c:v>
                </c:pt>
                <c:pt idx="62">
                  <c:v>18.079999999999998</c:v>
                </c:pt>
                <c:pt idx="63">
                  <c:v>18.37</c:v>
                </c:pt>
                <c:pt idx="64">
                  <c:v>19.18</c:v>
                </c:pt>
                <c:pt idx="65">
                  <c:v>17.850000000000001</c:v>
                </c:pt>
                <c:pt idx="66">
                  <c:v>17.73</c:v>
                </c:pt>
                <c:pt idx="67">
                  <c:v>19.16</c:v>
                </c:pt>
                <c:pt idx="68">
                  <c:v>18.27</c:v>
                </c:pt>
                <c:pt idx="69">
                  <c:v>17.54</c:v>
                </c:pt>
                <c:pt idx="70">
                  <c:v>16.829999999999998</c:v>
                </c:pt>
                <c:pt idx="71">
                  <c:v>17.11</c:v>
                </c:pt>
                <c:pt idx="72">
                  <c:v>16.78</c:v>
                </c:pt>
                <c:pt idx="73">
                  <c:v>17.72</c:v>
                </c:pt>
                <c:pt idx="74">
                  <c:v>17.75</c:v>
                </c:pt>
                <c:pt idx="75">
                  <c:v>16.68</c:v>
                </c:pt>
                <c:pt idx="76">
                  <c:v>17.98</c:v>
                </c:pt>
                <c:pt idx="77">
                  <c:v>18.309999999999999</c:v>
                </c:pt>
                <c:pt idx="78">
                  <c:v>19.43</c:v>
                </c:pt>
                <c:pt idx="79">
                  <c:v>18.96</c:v>
                </c:pt>
                <c:pt idx="80">
                  <c:v>18.559999999999999</c:v>
                </c:pt>
                <c:pt idx="81">
                  <c:v>19.68</c:v>
                </c:pt>
                <c:pt idx="82">
                  <c:v>18.739999999999998</c:v>
                </c:pt>
                <c:pt idx="83">
                  <c:v>18.850000000000001</c:v>
                </c:pt>
                <c:pt idx="84">
                  <c:v>17.940000000000001</c:v>
                </c:pt>
                <c:pt idx="85">
                  <c:v>18.940000000000001</c:v>
                </c:pt>
                <c:pt idx="86">
                  <c:v>19.440000000000001</c:v>
                </c:pt>
                <c:pt idx="87">
                  <c:v>18.329999999999998</c:v>
                </c:pt>
                <c:pt idx="88">
                  <c:v>18.79</c:v>
                </c:pt>
                <c:pt idx="89">
                  <c:v>19.82</c:v>
                </c:pt>
                <c:pt idx="90">
                  <c:v>20.51</c:v>
                </c:pt>
                <c:pt idx="91">
                  <c:v>20.86</c:v>
                </c:pt>
                <c:pt idx="92">
                  <c:v>19.38</c:v>
                </c:pt>
                <c:pt idx="93">
                  <c:v>20.14</c:v>
                </c:pt>
                <c:pt idx="94">
                  <c:v>18.809999999999999</c:v>
                </c:pt>
                <c:pt idx="95">
                  <c:v>19.739999999999998</c:v>
                </c:pt>
                <c:pt idx="107">
                  <c:v>22.67</c:v>
                </c:pt>
                <c:pt idx="108">
                  <c:v>20.14</c:v>
                </c:pt>
                <c:pt idx="109">
                  <c:v>18.28</c:v>
                </c:pt>
                <c:pt idx="110">
                  <c:v>19.37</c:v>
                </c:pt>
                <c:pt idx="111">
                  <c:v>19.47</c:v>
                </c:pt>
                <c:pt idx="112">
                  <c:v>17.18</c:v>
                </c:pt>
                <c:pt idx="113">
                  <c:v>17</c:v>
                </c:pt>
                <c:pt idx="114">
                  <c:v>17</c:v>
                </c:pt>
                <c:pt idx="115">
                  <c:v>19.02</c:v>
                </c:pt>
                <c:pt idx="116">
                  <c:v>16.18</c:v>
                </c:pt>
                <c:pt idx="117">
                  <c:v>16.149999999999999</c:v>
                </c:pt>
                <c:pt idx="118">
                  <c:v>17.72</c:v>
                </c:pt>
                <c:pt idx="119">
                  <c:v>17.489999999999998</c:v>
                </c:pt>
                <c:pt idx="120">
                  <c:v>17.3</c:v>
                </c:pt>
                <c:pt idx="121">
                  <c:v>17.23</c:v>
                </c:pt>
                <c:pt idx="122">
                  <c:v>11.94</c:v>
                </c:pt>
                <c:pt idx="123">
                  <c:v>17.8</c:v>
                </c:pt>
                <c:pt idx="124">
                  <c:v>17.57</c:v>
                </c:pt>
                <c:pt idx="125">
                  <c:v>17.89</c:v>
                </c:pt>
                <c:pt idx="126">
                  <c:v>17.850000000000001</c:v>
                </c:pt>
                <c:pt idx="127">
                  <c:v>18.3</c:v>
                </c:pt>
                <c:pt idx="128">
                  <c:v>17.100000000000001</c:v>
                </c:pt>
                <c:pt idx="129">
                  <c:v>18.16</c:v>
                </c:pt>
                <c:pt idx="130">
                  <c:v>16.97</c:v>
                </c:pt>
                <c:pt idx="131">
                  <c:v>18.440000000000001</c:v>
                </c:pt>
                <c:pt idx="132">
                  <c:v>19.350000000000001</c:v>
                </c:pt>
                <c:pt idx="133">
                  <c:v>18.5</c:v>
                </c:pt>
                <c:pt idx="134">
                  <c:v>19.12</c:v>
                </c:pt>
                <c:pt idx="135">
                  <c:v>19.82</c:v>
                </c:pt>
                <c:pt idx="136">
                  <c:v>20.309999999999999</c:v>
                </c:pt>
                <c:pt idx="137">
                  <c:v>18.88</c:v>
                </c:pt>
                <c:pt idx="138">
                  <c:v>19.739999999999998</c:v>
                </c:pt>
                <c:pt idx="139">
                  <c:v>20.92</c:v>
                </c:pt>
                <c:pt idx="140">
                  <c:v>19.920000000000002</c:v>
                </c:pt>
                <c:pt idx="141">
                  <c:v>22</c:v>
                </c:pt>
                <c:pt idx="142">
                  <c:v>22.06</c:v>
                </c:pt>
                <c:pt idx="143">
                  <c:v>20.68</c:v>
                </c:pt>
                <c:pt idx="144">
                  <c:v>22.45</c:v>
                </c:pt>
                <c:pt idx="145">
                  <c:v>22.13</c:v>
                </c:pt>
                <c:pt idx="146">
                  <c:v>22.04</c:v>
                </c:pt>
                <c:pt idx="147">
                  <c:v>22.82</c:v>
                </c:pt>
                <c:pt idx="148">
                  <c:v>19.809999999999999</c:v>
                </c:pt>
                <c:pt idx="149">
                  <c:v>21.32</c:v>
                </c:pt>
                <c:pt idx="150">
                  <c:v>20.83</c:v>
                </c:pt>
                <c:pt idx="151">
                  <c:v>22.18</c:v>
                </c:pt>
                <c:pt idx="152">
                  <c:v>21.38</c:v>
                </c:pt>
                <c:pt idx="153">
                  <c:v>22.41</c:v>
                </c:pt>
                <c:pt idx="154">
                  <c:v>21.4</c:v>
                </c:pt>
                <c:pt idx="155">
                  <c:v>21.07</c:v>
                </c:pt>
                <c:pt idx="156">
                  <c:v>20.96</c:v>
                </c:pt>
                <c:pt idx="157">
                  <c:v>20.71</c:v>
                </c:pt>
                <c:pt idx="158">
                  <c:v>20.96</c:v>
                </c:pt>
                <c:pt idx="159">
                  <c:v>20.02</c:v>
                </c:pt>
                <c:pt idx="160">
                  <c:v>21.01</c:v>
                </c:pt>
                <c:pt idx="161">
                  <c:v>18.899999999999999</c:v>
                </c:pt>
                <c:pt idx="162">
                  <c:v>20.22</c:v>
                </c:pt>
                <c:pt idx="163">
                  <c:v>19.57</c:v>
                </c:pt>
                <c:pt idx="164">
                  <c:v>22.56</c:v>
                </c:pt>
                <c:pt idx="165">
                  <c:v>20.63</c:v>
                </c:pt>
                <c:pt idx="166">
                  <c:v>21.86</c:v>
                </c:pt>
                <c:pt idx="167">
                  <c:v>19.940000000000001</c:v>
                </c:pt>
                <c:pt idx="168">
                  <c:v>20.69</c:v>
                </c:pt>
                <c:pt idx="169">
                  <c:v>20.68</c:v>
                </c:pt>
                <c:pt idx="170">
                  <c:v>19.760000000000002</c:v>
                </c:pt>
                <c:pt idx="171">
                  <c:v>19.87</c:v>
                </c:pt>
                <c:pt idx="172">
                  <c:v>20.260000000000002</c:v>
                </c:pt>
                <c:pt idx="175">
                  <c:v>20.46</c:v>
                </c:pt>
                <c:pt idx="176">
                  <c:v>20.89</c:v>
                </c:pt>
                <c:pt idx="177">
                  <c:v>22.09</c:v>
                </c:pt>
                <c:pt idx="178">
                  <c:v>21.59</c:v>
                </c:pt>
                <c:pt idx="179">
                  <c:v>22.64</c:v>
                </c:pt>
                <c:pt idx="180">
                  <c:v>19.93</c:v>
                </c:pt>
                <c:pt idx="181">
                  <c:v>22.31</c:v>
                </c:pt>
                <c:pt idx="182">
                  <c:v>22.72</c:v>
                </c:pt>
                <c:pt idx="183">
                  <c:v>21.38</c:v>
                </c:pt>
                <c:pt idx="184">
                  <c:v>23.57</c:v>
                </c:pt>
                <c:pt idx="185">
                  <c:v>21.98</c:v>
                </c:pt>
                <c:pt idx="186">
                  <c:v>24.26</c:v>
                </c:pt>
                <c:pt idx="187">
                  <c:v>22.54</c:v>
                </c:pt>
                <c:pt idx="188">
                  <c:v>22.94</c:v>
                </c:pt>
                <c:pt idx="189">
                  <c:v>22.94</c:v>
                </c:pt>
                <c:pt idx="190">
                  <c:v>23.32</c:v>
                </c:pt>
                <c:pt idx="191">
                  <c:v>23.71</c:v>
                </c:pt>
                <c:pt idx="192">
                  <c:v>24.69</c:v>
                </c:pt>
                <c:pt idx="193">
                  <c:v>23.48</c:v>
                </c:pt>
                <c:pt idx="194">
                  <c:v>24.32</c:v>
                </c:pt>
                <c:pt idx="195">
                  <c:v>25.12</c:v>
                </c:pt>
                <c:pt idx="196">
                  <c:v>26.4</c:v>
                </c:pt>
                <c:pt idx="197">
                  <c:v>25.95</c:v>
                </c:pt>
                <c:pt idx="198">
                  <c:v>26.86</c:v>
                </c:pt>
                <c:pt idx="199">
                  <c:v>22.99</c:v>
                </c:pt>
                <c:pt idx="200">
                  <c:v>23.39</c:v>
                </c:pt>
                <c:pt idx="201">
                  <c:v>22.2</c:v>
                </c:pt>
                <c:pt idx="202">
                  <c:v>22.8</c:v>
                </c:pt>
                <c:pt idx="203">
                  <c:v>21.76</c:v>
                </c:pt>
                <c:pt idx="204">
                  <c:v>22.54</c:v>
                </c:pt>
                <c:pt idx="205">
                  <c:v>22.7</c:v>
                </c:pt>
                <c:pt idx="206">
                  <c:v>22.47</c:v>
                </c:pt>
                <c:pt idx="207">
                  <c:v>21.61</c:v>
                </c:pt>
                <c:pt idx="208">
                  <c:v>22.04</c:v>
                </c:pt>
                <c:pt idx="209">
                  <c:v>23.01</c:v>
                </c:pt>
                <c:pt idx="210">
                  <c:v>20.61</c:v>
                </c:pt>
                <c:pt idx="211">
                  <c:v>21.62</c:v>
                </c:pt>
                <c:pt idx="212">
                  <c:v>21.83</c:v>
                </c:pt>
                <c:pt idx="213">
                  <c:v>23.05</c:v>
                </c:pt>
                <c:pt idx="214">
                  <c:v>22.36</c:v>
                </c:pt>
                <c:pt idx="215">
                  <c:v>21.13</c:v>
                </c:pt>
                <c:pt idx="216">
                  <c:v>22.23</c:v>
                </c:pt>
                <c:pt idx="217">
                  <c:v>22.11</c:v>
                </c:pt>
                <c:pt idx="218">
                  <c:v>22.45</c:v>
                </c:pt>
                <c:pt idx="219">
                  <c:v>20.66</c:v>
                </c:pt>
                <c:pt idx="220">
                  <c:v>23.01</c:v>
                </c:pt>
                <c:pt idx="221">
                  <c:v>22.94</c:v>
                </c:pt>
                <c:pt idx="222">
                  <c:v>22.5</c:v>
                </c:pt>
                <c:pt idx="223">
                  <c:v>22.84</c:v>
                </c:pt>
                <c:pt idx="224">
                  <c:v>20.48</c:v>
                </c:pt>
                <c:pt idx="225">
                  <c:v>23.5</c:v>
                </c:pt>
                <c:pt idx="226">
                  <c:v>26.37</c:v>
                </c:pt>
                <c:pt idx="227">
                  <c:v>23.6</c:v>
                </c:pt>
                <c:pt idx="232">
                  <c:v>21.46</c:v>
                </c:pt>
                <c:pt idx="233">
                  <c:v>26.24</c:v>
                </c:pt>
                <c:pt idx="234">
                  <c:v>24.1</c:v>
                </c:pt>
                <c:pt idx="235">
                  <c:v>23.88</c:v>
                </c:pt>
                <c:pt idx="236">
                  <c:v>23.77</c:v>
                </c:pt>
                <c:pt idx="237">
                  <c:v>23.72</c:v>
                </c:pt>
                <c:pt idx="238">
                  <c:v>26.84</c:v>
                </c:pt>
                <c:pt idx="239">
                  <c:v>26.07</c:v>
                </c:pt>
                <c:pt idx="240">
                  <c:v>26.79</c:v>
                </c:pt>
                <c:pt idx="241">
                  <c:v>25.62</c:v>
                </c:pt>
                <c:pt idx="242">
                  <c:v>25.73</c:v>
                </c:pt>
                <c:pt idx="243">
                  <c:v>28.58</c:v>
                </c:pt>
                <c:pt idx="244">
                  <c:v>24.69</c:v>
                </c:pt>
                <c:pt idx="245">
                  <c:v>26.7</c:v>
                </c:pt>
                <c:pt idx="246">
                  <c:v>24.37</c:v>
                </c:pt>
                <c:pt idx="247">
                  <c:v>23.13</c:v>
                </c:pt>
                <c:pt idx="248">
                  <c:v>23.08</c:v>
                </c:pt>
                <c:pt idx="249">
                  <c:v>21.34</c:v>
                </c:pt>
                <c:pt idx="250">
                  <c:v>22.49</c:v>
                </c:pt>
                <c:pt idx="251">
                  <c:v>21.12</c:v>
                </c:pt>
                <c:pt idx="252">
                  <c:v>19.61</c:v>
                </c:pt>
                <c:pt idx="253">
                  <c:v>20.72</c:v>
                </c:pt>
                <c:pt idx="254">
                  <c:v>21.18</c:v>
                </c:pt>
                <c:pt idx="255">
                  <c:v>21.79</c:v>
                </c:pt>
                <c:pt idx="256">
                  <c:v>21.22</c:v>
                </c:pt>
                <c:pt idx="257">
                  <c:v>20.75</c:v>
                </c:pt>
                <c:pt idx="258">
                  <c:v>21.18</c:v>
                </c:pt>
                <c:pt idx="259">
                  <c:v>22.98</c:v>
                </c:pt>
                <c:pt idx="260">
                  <c:v>20.55</c:v>
                </c:pt>
                <c:pt idx="261">
                  <c:v>20.2</c:v>
                </c:pt>
                <c:pt idx="262">
                  <c:v>20.190000000000001</c:v>
                </c:pt>
                <c:pt idx="263">
                  <c:v>21.14</c:v>
                </c:pt>
                <c:pt idx="264">
                  <c:v>20.54</c:v>
                </c:pt>
                <c:pt idx="265">
                  <c:v>23.22</c:v>
                </c:pt>
                <c:pt idx="266">
                  <c:v>19.940000000000001</c:v>
                </c:pt>
                <c:pt idx="267">
                  <c:v>20.66</c:v>
                </c:pt>
                <c:pt idx="268">
                  <c:v>19.41</c:v>
                </c:pt>
                <c:pt idx="269">
                  <c:v>17.46</c:v>
                </c:pt>
                <c:pt idx="270">
                  <c:v>20.85</c:v>
                </c:pt>
                <c:pt idx="271">
                  <c:v>21.42</c:v>
                </c:pt>
                <c:pt idx="272">
                  <c:v>21.26</c:v>
                </c:pt>
                <c:pt idx="273">
                  <c:v>21.88</c:v>
                </c:pt>
                <c:pt idx="274">
                  <c:v>22.09</c:v>
                </c:pt>
                <c:pt idx="275">
                  <c:v>22.43</c:v>
                </c:pt>
                <c:pt idx="276">
                  <c:v>24</c:v>
                </c:pt>
                <c:pt idx="277">
                  <c:v>21.92</c:v>
                </c:pt>
                <c:pt idx="278">
                  <c:v>20.94</c:v>
                </c:pt>
                <c:pt idx="279">
                  <c:v>22.19</c:v>
                </c:pt>
                <c:pt idx="280">
                  <c:v>23.13</c:v>
                </c:pt>
                <c:pt idx="281">
                  <c:v>22.93</c:v>
                </c:pt>
                <c:pt idx="282">
                  <c:v>22.97</c:v>
                </c:pt>
                <c:pt idx="283">
                  <c:v>22.48</c:v>
                </c:pt>
                <c:pt idx="284">
                  <c:v>23.16</c:v>
                </c:pt>
                <c:pt idx="285">
                  <c:v>22.08</c:v>
                </c:pt>
                <c:pt idx="286">
                  <c:v>21.74</c:v>
                </c:pt>
                <c:pt idx="287">
                  <c:v>23.72</c:v>
                </c:pt>
                <c:pt idx="288">
                  <c:v>23.54</c:v>
                </c:pt>
                <c:pt idx="289">
                  <c:v>24.4</c:v>
                </c:pt>
                <c:pt idx="290">
                  <c:v>25.41</c:v>
                </c:pt>
                <c:pt idx="291">
                  <c:v>21.43</c:v>
                </c:pt>
                <c:pt idx="292">
                  <c:v>22.6</c:v>
                </c:pt>
                <c:pt idx="293">
                  <c:v>23.76</c:v>
                </c:pt>
                <c:pt idx="294">
                  <c:v>23.03</c:v>
                </c:pt>
                <c:pt idx="295">
                  <c:v>23.2</c:v>
                </c:pt>
                <c:pt idx="296">
                  <c:v>20.98</c:v>
                </c:pt>
                <c:pt idx="297">
                  <c:v>24.03</c:v>
                </c:pt>
                <c:pt idx="298">
                  <c:v>21.37</c:v>
                </c:pt>
                <c:pt idx="299">
                  <c:v>22.81</c:v>
                </c:pt>
                <c:pt idx="300">
                  <c:v>22.98</c:v>
                </c:pt>
                <c:pt idx="301">
                  <c:v>20.28</c:v>
                </c:pt>
                <c:pt idx="302">
                  <c:v>20.97</c:v>
                </c:pt>
                <c:pt idx="303">
                  <c:v>21.15</c:v>
                </c:pt>
                <c:pt idx="304">
                  <c:v>19.170000000000002</c:v>
                </c:pt>
                <c:pt idx="305">
                  <c:v>19</c:v>
                </c:pt>
                <c:pt idx="306">
                  <c:v>18.37</c:v>
                </c:pt>
                <c:pt idx="307">
                  <c:v>17.95</c:v>
                </c:pt>
                <c:pt idx="308">
                  <c:v>17.2</c:v>
                </c:pt>
                <c:pt idx="309">
                  <c:v>17.18</c:v>
                </c:pt>
                <c:pt idx="310">
                  <c:v>20.03</c:v>
                </c:pt>
                <c:pt idx="311">
                  <c:v>17.82</c:v>
                </c:pt>
                <c:pt idx="312">
                  <c:v>20.21</c:v>
                </c:pt>
                <c:pt idx="313">
                  <c:v>20.52</c:v>
                </c:pt>
                <c:pt idx="314">
                  <c:v>20.87</c:v>
                </c:pt>
                <c:pt idx="315">
                  <c:v>20.57</c:v>
                </c:pt>
                <c:pt idx="316">
                  <c:v>21.17</c:v>
                </c:pt>
                <c:pt idx="317">
                  <c:v>19.100000000000001</c:v>
                </c:pt>
                <c:pt idx="318">
                  <c:v>20.71</c:v>
                </c:pt>
                <c:pt idx="319">
                  <c:v>19.309999999999999</c:v>
                </c:pt>
                <c:pt idx="320">
                  <c:v>18.989999999999998</c:v>
                </c:pt>
                <c:pt idx="321">
                  <c:v>20.3</c:v>
                </c:pt>
                <c:pt idx="322">
                  <c:v>20.54</c:v>
                </c:pt>
                <c:pt idx="323">
                  <c:v>21.47</c:v>
                </c:pt>
                <c:pt idx="324">
                  <c:v>21.42</c:v>
                </c:pt>
                <c:pt idx="325">
                  <c:v>20.97</c:v>
                </c:pt>
                <c:pt idx="326">
                  <c:v>23.41</c:v>
                </c:pt>
                <c:pt idx="327">
                  <c:v>22.61</c:v>
                </c:pt>
                <c:pt idx="328">
                  <c:v>22.66</c:v>
                </c:pt>
                <c:pt idx="329">
                  <c:v>22.14</c:v>
                </c:pt>
                <c:pt idx="330">
                  <c:v>22.9</c:v>
                </c:pt>
                <c:pt idx="331">
                  <c:v>21.39</c:v>
                </c:pt>
                <c:pt idx="332">
                  <c:v>22.56</c:v>
                </c:pt>
                <c:pt idx="333">
                  <c:v>20.36</c:v>
                </c:pt>
                <c:pt idx="334">
                  <c:v>23.03</c:v>
                </c:pt>
                <c:pt idx="335">
                  <c:v>23.77</c:v>
                </c:pt>
                <c:pt idx="336">
                  <c:v>23.11</c:v>
                </c:pt>
                <c:pt idx="337">
                  <c:v>23.15</c:v>
                </c:pt>
                <c:pt idx="338">
                  <c:v>24.25</c:v>
                </c:pt>
                <c:pt idx="339">
                  <c:v>22.8</c:v>
                </c:pt>
                <c:pt idx="340">
                  <c:v>24.54</c:v>
                </c:pt>
                <c:pt idx="341">
                  <c:v>27.26</c:v>
                </c:pt>
                <c:pt idx="342">
                  <c:v>24.38</c:v>
                </c:pt>
                <c:pt idx="343">
                  <c:v>25.66</c:v>
                </c:pt>
                <c:pt idx="344">
                  <c:v>26.5</c:v>
                </c:pt>
                <c:pt idx="345">
                  <c:v>25.48</c:v>
                </c:pt>
                <c:pt idx="346">
                  <c:v>24.02</c:v>
                </c:pt>
                <c:pt idx="347">
                  <c:v>24.69</c:v>
                </c:pt>
                <c:pt idx="348">
                  <c:v>23.65</c:v>
                </c:pt>
                <c:pt idx="349">
                  <c:v>21.63</c:v>
                </c:pt>
                <c:pt idx="350">
                  <c:v>21.58</c:v>
                </c:pt>
                <c:pt idx="351">
                  <c:v>21.6</c:v>
                </c:pt>
                <c:pt idx="352">
                  <c:v>21.26</c:v>
                </c:pt>
                <c:pt idx="353">
                  <c:v>21.66</c:v>
                </c:pt>
                <c:pt idx="354">
                  <c:v>20.6</c:v>
                </c:pt>
                <c:pt idx="355">
                  <c:v>20.68</c:v>
                </c:pt>
                <c:pt idx="356">
                  <c:v>20.37</c:v>
                </c:pt>
                <c:pt idx="357">
                  <c:v>21.19</c:v>
                </c:pt>
                <c:pt idx="358">
                  <c:v>21.05</c:v>
                </c:pt>
                <c:pt idx="359">
                  <c:v>23.77</c:v>
                </c:pt>
                <c:pt idx="360">
                  <c:v>20.99</c:v>
                </c:pt>
                <c:pt idx="361">
                  <c:v>23.05</c:v>
                </c:pt>
                <c:pt idx="362">
                  <c:v>22.44</c:v>
                </c:pt>
                <c:pt idx="363">
                  <c:v>21.04</c:v>
                </c:pt>
                <c:pt idx="364">
                  <c:v>22.07</c:v>
                </c:pt>
                <c:pt idx="365">
                  <c:v>22.29</c:v>
                </c:pt>
                <c:pt idx="366">
                  <c:v>21.66</c:v>
                </c:pt>
                <c:pt idx="367">
                  <c:v>22.41</c:v>
                </c:pt>
                <c:pt idx="368">
                  <c:v>24.94</c:v>
                </c:pt>
                <c:pt idx="369">
                  <c:v>24.07</c:v>
                </c:pt>
                <c:pt idx="370">
                  <c:v>23.2</c:v>
                </c:pt>
                <c:pt idx="371">
                  <c:v>22.16</c:v>
                </c:pt>
                <c:pt idx="372">
                  <c:v>23.53</c:v>
                </c:pt>
                <c:pt idx="373">
                  <c:v>23.42</c:v>
                </c:pt>
                <c:pt idx="374">
                  <c:v>23.33</c:v>
                </c:pt>
                <c:pt idx="375">
                  <c:v>24.34</c:v>
                </c:pt>
                <c:pt idx="376">
                  <c:v>24.72</c:v>
                </c:pt>
                <c:pt idx="377">
                  <c:v>25.17</c:v>
                </c:pt>
                <c:pt idx="378">
                  <c:v>25.05</c:v>
                </c:pt>
                <c:pt idx="379">
                  <c:v>26.11</c:v>
                </c:pt>
                <c:pt idx="380">
                  <c:v>26.32</c:v>
                </c:pt>
                <c:pt idx="381">
                  <c:v>27.17</c:v>
                </c:pt>
                <c:pt idx="382">
                  <c:v>26.03</c:v>
                </c:pt>
                <c:pt idx="383">
                  <c:v>25.58</c:v>
                </c:pt>
                <c:pt idx="385">
                  <c:v>28.65</c:v>
                </c:pt>
                <c:pt idx="386">
                  <c:v>29.56</c:v>
                </c:pt>
                <c:pt idx="387">
                  <c:v>30.6</c:v>
                </c:pt>
                <c:pt idx="388">
                  <c:v>31.17</c:v>
                </c:pt>
                <c:pt idx="389">
                  <c:v>31.18</c:v>
                </c:pt>
                <c:pt idx="390">
                  <c:v>29.18</c:v>
                </c:pt>
                <c:pt idx="391">
                  <c:v>30.28</c:v>
                </c:pt>
                <c:pt idx="392">
                  <c:v>30.64</c:v>
                </c:pt>
                <c:pt idx="393">
                  <c:v>25.99</c:v>
                </c:pt>
                <c:pt idx="394">
                  <c:v>26.99</c:v>
                </c:pt>
                <c:pt idx="395">
                  <c:v>28.64</c:v>
                </c:pt>
                <c:pt idx="396">
                  <c:v>26.64</c:v>
                </c:pt>
                <c:pt idx="397">
                  <c:v>25.47</c:v>
                </c:pt>
                <c:pt idx="398">
                  <c:v>24.39</c:v>
                </c:pt>
                <c:pt idx="399">
                  <c:v>24.59</c:v>
                </c:pt>
                <c:pt idx="400">
                  <c:v>25.19</c:v>
                </c:pt>
                <c:pt idx="401">
                  <c:v>22.16</c:v>
                </c:pt>
                <c:pt idx="402">
                  <c:v>24.76</c:v>
                </c:pt>
                <c:pt idx="403">
                  <c:v>25.86</c:v>
                </c:pt>
                <c:pt idx="404">
                  <c:v>25.98</c:v>
                </c:pt>
                <c:pt idx="405">
                  <c:v>25.64</c:v>
                </c:pt>
                <c:pt idx="406">
                  <c:v>23.68</c:v>
                </c:pt>
                <c:pt idx="407">
                  <c:v>26.96</c:v>
                </c:pt>
                <c:pt idx="408">
                  <c:v>25.35</c:v>
                </c:pt>
                <c:pt idx="409">
                  <c:v>26.23</c:v>
                </c:pt>
                <c:pt idx="410">
                  <c:v>26.81</c:v>
                </c:pt>
                <c:pt idx="411">
                  <c:v>25.5</c:v>
                </c:pt>
                <c:pt idx="412">
                  <c:v>26.18</c:v>
                </c:pt>
                <c:pt idx="413">
                  <c:v>25.52</c:v>
                </c:pt>
                <c:pt idx="414">
                  <c:v>25.52</c:v>
                </c:pt>
                <c:pt idx="415">
                  <c:v>26.73</c:v>
                </c:pt>
                <c:pt idx="416">
                  <c:v>25.39</c:v>
                </c:pt>
                <c:pt idx="417" formatCode="General">
                  <c:v>26.96</c:v>
                </c:pt>
                <c:pt idx="418" formatCode="General">
                  <c:v>26.28</c:v>
                </c:pt>
                <c:pt idx="419" formatCode="General">
                  <c:v>25.78</c:v>
                </c:pt>
              </c:numCache>
            </c:numRef>
          </c:val>
          <c:smooth val="0"/>
          <c:extLst>
            <c:ext xmlns:c16="http://schemas.microsoft.com/office/drawing/2014/chart" uri="{C3380CC4-5D6E-409C-BE32-E72D297353CC}">
              <c16:uniqueId val="{00000000-318D-4C09-B079-2D26D4DF769F}"/>
            </c:ext>
          </c:extLst>
        </c:ser>
        <c:dLbls>
          <c:showLegendKey val="0"/>
          <c:showVal val="0"/>
          <c:showCatName val="0"/>
          <c:showSerName val="0"/>
          <c:showPercent val="0"/>
          <c:showBubbleSize val="0"/>
        </c:dLbls>
        <c:smooth val="0"/>
        <c:axId val="2064596080"/>
        <c:axId val="1"/>
      </c:lineChart>
      <c:catAx>
        <c:axId val="2064596080"/>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4596080"/>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a:t>
            </a:r>
          </a:p>
        </c:rich>
      </c:tx>
      <c:overlay val="0"/>
    </c:title>
    <c:autoTitleDeleted val="0"/>
    <c:plotArea>
      <c:layout/>
      <c:lineChart>
        <c:grouping val="standard"/>
        <c:varyColors val="0"/>
        <c:ser>
          <c:idx val="6"/>
          <c:order val="0"/>
          <c:tx>
            <c:strRef>
              <c:f>Summary!$M$3</c:f>
              <c:strCache>
                <c:ptCount val="1"/>
                <c:pt idx="0">
                  <c:v>Cows</c:v>
                </c:pt>
              </c:strCache>
            </c:strRef>
          </c:tx>
          <c:spPr>
            <a:ln w="12700">
              <a:solidFill>
                <a:schemeClr val="tx1"/>
              </a:solidFill>
            </a:ln>
          </c:spPr>
          <c:marker>
            <c:symbol val="none"/>
          </c:marker>
          <c:cat>
            <c:numRef>
              <c:f>Summary!$B$4:$B$801</c:f>
              <c:numCache>
                <c:formatCode>General</c:formatCode>
                <c:ptCount val="798"/>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M$4:$M$810</c:f>
              <c:numCache>
                <c:formatCode>0.00</c:formatCode>
                <c:ptCount val="807"/>
                <c:pt idx="0">
                  <c:v>10.9</c:v>
                </c:pt>
                <c:pt idx="1">
                  <c:v>10.48</c:v>
                </c:pt>
                <c:pt idx="2">
                  <c:v>10.35</c:v>
                </c:pt>
                <c:pt idx="3">
                  <c:v>10.09</c:v>
                </c:pt>
                <c:pt idx="4">
                  <c:v>9.69</c:v>
                </c:pt>
                <c:pt idx="5">
                  <c:v>9.49</c:v>
                </c:pt>
                <c:pt idx="6">
                  <c:v>9.32</c:v>
                </c:pt>
                <c:pt idx="7">
                  <c:v>9.35</c:v>
                </c:pt>
                <c:pt idx="8">
                  <c:v>9.1999999999999993</c:v>
                </c:pt>
                <c:pt idx="9">
                  <c:v>9.1999999999999993</c:v>
                </c:pt>
                <c:pt idx="10">
                  <c:v>9.56</c:v>
                </c:pt>
                <c:pt idx="11">
                  <c:v>9.86</c:v>
                </c:pt>
                <c:pt idx="12">
                  <c:v>9.34</c:v>
                </c:pt>
                <c:pt idx="13">
                  <c:v>9.65</c:v>
                </c:pt>
                <c:pt idx="14">
                  <c:v>10.199999999999999</c:v>
                </c:pt>
                <c:pt idx="15">
                  <c:v>10.57</c:v>
                </c:pt>
                <c:pt idx="16">
                  <c:v>10.28</c:v>
                </c:pt>
                <c:pt idx="17">
                  <c:v>10.24</c:v>
                </c:pt>
                <c:pt idx="18">
                  <c:v>10.24</c:v>
                </c:pt>
                <c:pt idx="19">
                  <c:v>10.29</c:v>
                </c:pt>
                <c:pt idx="20">
                  <c:v>10.210000000000001</c:v>
                </c:pt>
                <c:pt idx="21">
                  <c:v>9.01</c:v>
                </c:pt>
                <c:pt idx="22">
                  <c:v>10</c:v>
                </c:pt>
                <c:pt idx="23">
                  <c:v>9.9499999999999993</c:v>
                </c:pt>
                <c:pt idx="24">
                  <c:v>10.28</c:v>
                </c:pt>
                <c:pt idx="25">
                  <c:v>10.16</c:v>
                </c:pt>
                <c:pt idx="26">
                  <c:v>9.91</c:v>
                </c:pt>
                <c:pt idx="27">
                  <c:v>9.99</c:v>
                </c:pt>
                <c:pt idx="28">
                  <c:v>10.130000000000001</c:v>
                </c:pt>
                <c:pt idx="29">
                  <c:v>10.37</c:v>
                </c:pt>
                <c:pt idx="30">
                  <c:v>10.3</c:v>
                </c:pt>
                <c:pt idx="31">
                  <c:v>8.2799999999999994</c:v>
                </c:pt>
                <c:pt idx="32">
                  <c:v>9.1999999999999993</c:v>
                </c:pt>
                <c:pt idx="33">
                  <c:v>10.62</c:v>
                </c:pt>
                <c:pt idx="34">
                  <c:v>10.23</c:v>
                </c:pt>
                <c:pt idx="35">
                  <c:v>10.42</c:v>
                </c:pt>
                <c:pt idx="36">
                  <c:v>10.28</c:v>
                </c:pt>
                <c:pt idx="37">
                  <c:v>10.23</c:v>
                </c:pt>
                <c:pt idx="38">
                  <c:v>10.19</c:v>
                </c:pt>
                <c:pt idx="39">
                  <c:v>10.43</c:v>
                </c:pt>
                <c:pt idx="40">
                  <c:v>10.210000000000001</c:v>
                </c:pt>
                <c:pt idx="41">
                  <c:v>10.69</c:v>
                </c:pt>
                <c:pt idx="42">
                  <c:v>10.79</c:v>
                </c:pt>
                <c:pt idx="43">
                  <c:v>10.99</c:v>
                </c:pt>
                <c:pt idx="44">
                  <c:v>11.17</c:v>
                </c:pt>
                <c:pt idx="45">
                  <c:v>11.01</c:v>
                </c:pt>
                <c:pt idx="46">
                  <c:v>10.66</c:v>
                </c:pt>
                <c:pt idx="47">
                  <c:v>12.16</c:v>
                </c:pt>
                <c:pt idx="48">
                  <c:v>11.71</c:v>
                </c:pt>
                <c:pt idx="49">
                  <c:v>11.2</c:v>
                </c:pt>
                <c:pt idx="50">
                  <c:v>11.2</c:v>
                </c:pt>
                <c:pt idx="51">
                  <c:v>11.21</c:v>
                </c:pt>
                <c:pt idx="52">
                  <c:v>11.01</c:v>
                </c:pt>
                <c:pt idx="53">
                  <c:v>10.81</c:v>
                </c:pt>
                <c:pt idx="54">
                  <c:v>10.46</c:v>
                </c:pt>
                <c:pt idx="55">
                  <c:v>10.61</c:v>
                </c:pt>
                <c:pt idx="56">
                  <c:v>10.98</c:v>
                </c:pt>
                <c:pt idx="57">
                  <c:v>10.74</c:v>
                </c:pt>
                <c:pt idx="58">
                  <c:v>10.73</c:v>
                </c:pt>
                <c:pt idx="59">
                  <c:v>11.46</c:v>
                </c:pt>
                <c:pt idx="60">
                  <c:v>11.72</c:v>
                </c:pt>
                <c:pt idx="61">
                  <c:v>11.23</c:v>
                </c:pt>
                <c:pt idx="62">
                  <c:v>11.48</c:v>
                </c:pt>
                <c:pt idx="63">
                  <c:v>11.49</c:v>
                </c:pt>
                <c:pt idx="64">
                  <c:v>11.36</c:v>
                </c:pt>
                <c:pt idx="65">
                  <c:v>11.34</c:v>
                </c:pt>
                <c:pt idx="66">
                  <c:v>11.44</c:v>
                </c:pt>
                <c:pt idx="67">
                  <c:v>10.8</c:v>
                </c:pt>
                <c:pt idx="68">
                  <c:v>12.05</c:v>
                </c:pt>
                <c:pt idx="69">
                  <c:v>11.6</c:v>
                </c:pt>
                <c:pt idx="70">
                  <c:v>12.16</c:v>
                </c:pt>
                <c:pt idx="71">
                  <c:v>12.66</c:v>
                </c:pt>
                <c:pt idx="72">
                  <c:v>12.32</c:v>
                </c:pt>
                <c:pt idx="73">
                  <c:v>12.9</c:v>
                </c:pt>
                <c:pt idx="74">
                  <c:v>12.74</c:v>
                </c:pt>
                <c:pt idx="75">
                  <c:v>12.31</c:v>
                </c:pt>
                <c:pt idx="76">
                  <c:v>12.31</c:v>
                </c:pt>
                <c:pt idx="77">
                  <c:v>13.13</c:v>
                </c:pt>
                <c:pt idx="78">
                  <c:v>12.91</c:v>
                </c:pt>
                <c:pt idx="79">
                  <c:v>13.14</c:v>
                </c:pt>
                <c:pt idx="80">
                  <c:v>13.09</c:v>
                </c:pt>
                <c:pt idx="81">
                  <c:v>12.63</c:v>
                </c:pt>
                <c:pt idx="82">
                  <c:v>12.98</c:v>
                </c:pt>
                <c:pt idx="83">
                  <c:v>13.54</c:v>
                </c:pt>
                <c:pt idx="84">
                  <c:v>14.53</c:v>
                </c:pt>
                <c:pt idx="85">
                  <c:v>14.68</c:v>
                </c:pt>
                <c:pt idx="86">
                  <c:v>14.86</c:v>
                </c:pt>
                <c:pt idx="87">
                  <c:v>14.85</c:v>
                </c:pt>
                <c:pt idx="88">
                  <c:v>15.17</c:v>
                </c:pt>
                <c:pt idx="89">
                  <c:v>14.28</c:v>
                </c:pt>
                <c:pt idx="90">
                  <c:v>13.1</c:v>
                </c:pt>
                <c:pt idx="91">
                  <c:v>14.38</c:v>
                </c:pt>
                <c:pt idx="92">
                  <c:v>13.96</c:v>
                </c:pt>
                <c:pt idx="93">
                  <c:v>14</c:v>
                </c:pt>
                <c:pt idx="94">
                  <c:v>13.77</c:v>
                </c:pt>
                <c:pt idx="95">
                  <c:v>12.73</c:v>
                </c:pt>
                <c:pt idx="96">
                  <c:v>13.24</c:v>
                </c:pt>
                <c:pt idx="97">
                  <c:v>12.73</c:v>
                </c:pt>
                <c:pt idx="98">
                  <c:v>11.91</c:v>
                </c:pt>
                <c:pt idx="99">
                  <c:v>12.79</c:v>
                </c:pt>
                <c:pt idx="100">
                  <c:v>11.78</c:v>
                </c:pt>
                <c:pt idx="101">
                  <c:v>11.11</c:v>
                </c:pt>
                <c:pt idx="102">
                  <c:v>10.49</c:v>
                </c:pt>
                <c:pt idx="103">
                  <c:v>10.63</c:v>
                </c:pt>
                <c:pt idx="104">
                  <c:v>10.220000000000001</c:v>
                </c:pt>
                <c:pt idx="105">
                  <c:v>10.57</c:v>
                </c:pt>
                <c:pt idx="106">
                  <c:v>11.19</c:v>
                </c:pt>
                <c:pt idx="107">
                  <c:v>10.5</c:v>
                </c:pt>
                <c:pt idx="108">
                  <c:v>10.17</c:v>
                </c:pt>
                <c:pt idx="109">
                  <c:v>11.38</c:v>
                </c:pt>
                <c:pt idx="110">
                  <c:v>10.8</c:v>
                </c:pt>
                <c:pt idx="111">
                  <c:v>11.39</c:v>
                </c:pt>
                <c:pt idx="112">
                  <c:v>10.61</c:v>
                </c:pt>
                <c:pt idx="113">
                  <c:v>11.51</c:v>
                </c:pt>
                <c:pt idx="114">
                  <c:v>10.9</c:v>
                </c:pt>
                <c:pt idx="115">
                  <c:v>10.86</c:v>
                </c:pt>
                <c:pt idx="116">
                  <c:v>11.59</c:v>
                </c:pt>
                <c:pt idx="117">
                  <c:v>11.01</c:v>
                </c:pt>
                <c:pt idx="118">
                  <c:v>10.97</c:v>
                </c:pt>
                <c:pt idx="119">
                  <c:v>10.77</c:v>
                </c:pt>
                <c:pt idx="120">
                  <c:v>11.07</c:v>
                </c:pt>
                <c:pt idx="121">
                  <c:v>12.3</c:v>
                </c:pt>
                <c:pt idx="122">
                  <c:v>11.23</c:v>
                </c:pt>
                <c:pt idx="123">
                  <c:v>11.39</c:v>
                </c:pt>
                <c:pt idx="124">
                  <c:v>11.67</c:v>
                </c:pt>
                <c:pt idx="125">
                  <c:v>12.87</c:v>
                </c:pt>
                <c:pt idx="126">
                  <c:v>11.82</c:v>
                </c:pt>
                <c:pt idx="127">
                  <c:v>13.06</c:v>
                </c:pt>
                <c:pt idx="128">
                  <c:v>12.23</c:v>
                </c:pt>
                <c:pt idx="129">
                  <c:v>13.23</c:v>
                </c:pt>
                <c:pt idx="130">
                  <c:v>12.46</c:v>
                </c:pt>
                <c:pt idx="131">
                  <c:v>12.8</c:v>
                </c:pt>
                <c:pt idx="132">
                  <c:v>12.17</c:v>
                </c:pt>
                <c:pt idx="133">
                  <c:v>12.86</c:v>
                </c:pt>
                <c:pt idx="134">
                  <c:v>13.44</c:v>
                </c:pt>
                <c:pt idx="135">
                  <c:v>12.65</c:v>
                </c:pt>
                <c:pt idx="136">
                  <c:v>13.73</c:v>
                </c:pt>
                <c:pt idx="137">
                  <c:v>12.82</c:v>
                </c:pt>
                <c:pt idx="138">
                  <c:v>13.33</c:v>
                </c:pt>
                <c:pt idx="139">
                  <c:v>12.39</c:v>
                </c:pt>
                <c:pt idx="140">
                  <c:v>12.94</c:v>
                </c:pt>
                <c:pt idx="141">
                  <c:v>11.72</c:v>
                </c:pt>
                <c:pt idx="142">
                  <c:v>11.89</c:v>
                </c:pt>
                <c:pt idx="143">
                  <c:v>12.16</c:v>
                </c:pt>
                <c:pt idx="144">
                  <c:v>11.44</c:v>
                </c:pt>
                <c:pt idx="145">
                  <c:v>11.04</c:v>
                </c:pt>
                <c:pt idx="146">
                  <c:v>11.04</c:v>
                </c:pt>
                <c:pt idx="147">
                  <c:v>11.31</c:v>
                </c:pt>
                <c:pt idx="148">
                  <c:v>10.56</c:v>
                </c:pt>
                <c:pt idx="149">
                  <c:v>10.09</c:v>
                </c:pt>
                <c:pt idx="150">
                  <c:v>10.72</c:v>
                </c:pt>
                <c:pt idx="151">
                  <c:v>10.14</c:v>
                </c:pt>
                <c:pt idx="152">
                  <c:v>10.039999999999999</c:v>
                </c:pt>
                <c:pt idx="153">
                  <c:v>10.33</c:v>
                </c:pt>
                <c:pt idx="154">
                  <c:v>10.050000000000001</c:v>
                </c:pt>
                <c:pt idx="155">
                  <c:v>11.06</c:v>
                </c:pt>
                <c:pt idx="156">
                  <c:v>11.18</c:v>
                </c:pt>
                <c:pt idx="157">
                  <c:v>11.5</c:v>
                </c:pt>
                <c:pt idx="158">
                  <c:v>11.6</c:v>
                </c:pt>
                <c:pt idx="159">
                  <c:v>11.63</c:v>
                </c:pt>
                <c:pt idx="160">
                  <c:v>11.27</c:v>
                </c:pt>
                <c:pt idx="161">
                  <c:v>10.5</c:v>
                </c:pt>
                <c:pt idx="162">
                  <c:v>11.01</c:v>
                </c:pt>
                <c:pt idx="163">
                  <c:v>10.85</c:v>
                </c:pt>
                <c:pt idx="164">
                  <c:v>10.86</c:v>
                </c:pt>
                <c:pt idx="165">
                  <c:v>11.29</c:v>
                </c:pt>
                <c:pt idx="166">
                  <c:v>11.04</c:v>
                </c:pt>
                <c:pt idx="167">
                  <c:v>11.4</c:v>
                </c:pt>
                <c:pt idx="168">
                  <c:v>11.25</c:v>
                </c:pt>
                <c:pt idx="169">
                  <c:v>11.35</c:v>
                </c:pt>
                <c:pt idx="170">
                  <c:v>11.64</c:v>
                </c:pt>
                <c:pt idx="171">
                  <c:v>11.72</c:v>
                </c:pt>
                <c:pt idx="172">
                  <c:v>11.58</c:v>
                </c:pt>
                <c:pt idx="173">
                  <c:v>11.47</c:v>
                </c:pt>
                <c:pt idx="174">
                  <c:v>12.12</c:v>
                </c:pt>
                <c:pt idx="175">
                  <c:v>12.06</c:v>
                </c:pt>
                <c:pt idx="176">
                  <c:v>11.35</c:v>
                </c:pt>
                <c:pt idx="177">
                  <c:v>11.66</c:v>
                </c:pt>
                <c:pt idx="178">
                  <c:v>12.28</c:v>
                </c:pt>
                <c:pt idx="179">
                  <c:v>10.49</c:v>
                </c:pt>
                <c:pt idx="180">
                  <c:v>11.91</c:v>
                </c:pt>
                <c:pt idx="181">
                  <c:v>12.48</c:v>
                </c:pt>
                <c:pt idx="182">
                  <c:v>11.59</c:v>
                </c:pt>
                <c:pt idx="183">
                  <c:v>12.5</c:v>
                </c:pt>
                <c:pt idx="184">
                  <c:v>12.76</c:v>
                </c:pt>
                <c:pt idx="185">
                  <c:v>12.64</c:v>
                </c:pt>
                <c:pt idx="186">
                  <c:v>13.11</c:v>
                </c:pt>
                <c:pt idx="187">
                  <c:v>12.86</c:v>
                </c:pt>
                <c:pt idx="188">
                  <c:v>12.81</c:v>
                </c:pt>
                <c:pt idx="189">
                  <c:v>12.43</c:v>
                </c:pt>
                <c:pt idx="190">
                  <c:v>12.32</c:v>
                </c:pt>
                <c:pt idx="191">
                  <c:v>11.77</c:v>
                </c:pt>
                <c:pt idx="192">
                  <c:v>12.04</c:v>
                </c:pt>
                <c:pt idx="193">
                  <c:v>11.5</c:v>
                </c:pt>
                <c:pt idx="194">
                  <c:v>11.44</c:v>
                </c:pt>
                <c:pt idx="195">
                  <c:v>10.72</c:v>
                </c:pt>
                <c:pt idx="196">
                  <c:v>11</c:v>
                </c:pt>
                <c:pt idx="197">
                  <c:v>10.96</c:v>
                </c:pt>
                <c:pt idx="198">
                  <c:v>10.87</c:v>
                </c:pt>
                <c:pt idx="199">
                  <c:v>11.01</c:v>
                </c:pt>
                <c:pt idx="200">
                  <c:v>12.16</c:v>
                </c:pt>
                <c:pt idx="201">
                  <c:v>11.62</c:v>
                </c:pt>
                <c:pt idx="202">
                  <c:v>12.12</c:v>
                </c:pt>
                <c:pt idx="203">
                  <c:v>12.1</c:v>
                </c:pt>
                <c:pt idx="204">
                  <c:v>10.97</c:v>
                </c:pt>
                <c:pt idx="205">
                  <c:v>11.16</c:v>
                </c:pt>
                <c:pt idx="206">
                  <c:v>11.22</c:v>
                </c:pt>
                <c:pt idx="207">
                  <c:v>11.42</c:v>
                </c:pt>
                <c:pt idx="208">
                  <c:v>10.61</c:v>
                </c:pt>
                <c:pt idx="209">
                  <c:v>11.11</c:v>
                </c:pt>
                <c:pt idx="210">
                  <c:v>11.15</c:v>
                </c:pt>
                <c:pt idx="211">
                  <c:v>11.37</c:v>
                </c:pt>
                <c:pt idx="212">
                  <c:v>11.36</c:v>
                </c:pt>
                <c:pt idx="213">
                  <c:v>11.95</c:v>
                </c:pt>
                <c:pt idx="214">
                  <c:v>12.44</c:v>
                </c:pt>
                <c:pt idx="215">
                  <c:v>11.4</c:v>
                </c:pt>
                <c:pt idx="216">
                  <c:v>12.42</c:v>
                </c:pt>
                <c:pt idx="217">
                  <c:v>12.8</c:v>
                </c:pt>
                <c:pt idx="218">
                  <c:v>13.06</c:v>
                </c:pt>
                <c:pt idx="219">
                  <c:v>12.99</c:v>
                </c:pt>
                <c:pt idx="220">
                  <c:v>13.37</c:v>
                </c:pt>
                <c:pt idx="221">
                  <c:v>13.11</c:v>
                </c:pt>
                <c:pt idx="222">
                  <c:v>13.43</c:v>
                </c:pt>
                <c:pt idx="223">
                  <c:v>13.9</c:v>
                </c:pt>
                <c:pt idx="224">
                  <c:v>13.1</c:v>
                </c:pt>
                <c:pt idx="225">
                  <c:v>12.95</c:v>
                </c:pt>
                <c:pt idx="226">
                  <c:v>13.32</c:v>
                </c:pt>
                <c:pt idx="227">
                  <c:v>13.2</c:v>
                </c:pt>
                <c:pt idx="228">
                  <c:v>12.92</c:v>
                </c:pt>
                <c:pt idx="229">
                  <c:v>12.91</c:v>
                </c:pt>
                <c:pt idx="230">
                  <c:v>13.78</c:v>
                </c:pt>
                <c:pt idx="231">
                  <c:v>13.44</c:v>
                </c:pt>
                <c:pt idx="232">
                  <c:v>13.59</c:v>
                </c:pt>
                <c:pt idx="233">
                  <c:v>14.04</c:v>
                </c:pt>
                <c:pt idx="234">
                  <c:v>13.56</c:v>
                </c:pt>
                <c:pt idx="235">
                  <c:v>13.8</c:v>
                </c:pt>
                <c:pt idx="236">
                  <c:v>14.13</c:v>
                </c:pt>
                <c:pt idx="237">
                  <c:v>13.71</c:v>
                </c:pt>
                <c:pt idx="238">
                  <c:v>14.06</c:v>
                </c:pt>
                <c:pt idx="239">
                  <c:v>13.37</c:v>
                </c:pt>
                <c:pt idx="240">
                  <c:v>13.75</c:v>
                </c:pt>
                <c:pt idx="241">
                  <c:v>14.01</c:v>
                </c:pt>
                <c:pt idx="242">
                  <c:v>13.52</c:v>
                </c:pt>
                <c:pt idx="243">
                  <c:v>12.67</c:v>
                </c:pt>
                <c:pt idx="244">
                  <c:v>12.99</c:v>
                </c:pt>
                <c:pt idx="245">
                  <c:v>12.81</c:v>
                </c:pt>
                <c:pt idx="246">
                  <c:v>11.59</c:v>
                </c:pt>
                <c:pt idx="247">
                  <c:v>11.77</c:v>
                </c:pt>
                <c:pt idx="248">
                  <c:v>11.79</c:v>
                </c:pt>
                <c:pt idx="249">
                  <c:v>11.45</c:v>
                </c:pt>
                <c:pt idx="250">
                  <c:v>11.43</c:v>
                </c:pt>
                <c:pt idx="251">
                  <c:v>11.7</c:v>
                </c:pt>
                <c:pt idx="252">
                  <c:v>12.15</c:v>
                </c:pt>
                <c:pt idx="253">
                  <c:v>11.69</c:v>
                </c:pt>
                <c:pt idx="254">
                  <c:v>12.81</c:v>
                </c:pt>
                <c:pt idx="255">
                  <c:v>12.63</c:v>
                </c:pt>
                <c:pt idx="256">
                  <c:v>12.62</c:v>
                </c:pt>
                <c:pt idx="257">
                  <c:v>12.32</c:v>
                </c:pt>
                <c:pt idx="258">
                  <c:v>13.09</c:v>
                </c:pt>
                <c:pt idx="259">
                  <c:v>12.92</c:v>
                </c:pt>
                <c:pt idx="260">
                  <c:v>13.02</c:v>
                </c:pt>
                <c:pt idx="261">
                  <c:v>11.81</c:v>
                </c:pt>
                <c:pt idx="262">
                  <c:v>12.67</c:v>
                </c:pt>
                <c:pt idx="263">
                  <c:v>14.84</c:v>
                </c:pt>
                <c:pt idx="264">
                  <c:v>11.53</c:v>
                </c:pt>
                <c:pt idx="265">
                  <c:v>13.01</c:v>
                </c:pt>
                <c:pt idx="266">
                  <c:v>12.81</c:v>
                </c:pt>
                <c:pt idx="267">
                  <c:v>12.85</c:v>
                </c:pt>
                <c:pt idx="268">
                  <c:v>13.28</c:v>
                </c:pt>
                <c:pt idx="269">
                  <c:v>13.47</c:v>
                </c:pt>
                <c:pt idx="270">
                  <c:v>13.3</c:v>
                </c:pt>
                <c:pt idx="271">
                  <c:v>14.09</c:v>
                </c:pt>
                <c:pt idx="272">
                  <c:v>15.18</c:v>
                </c:pt>
                <c:pt idx="273">
                  <c:v>14.94</c:v>
                </c:pt>
                <c:pt idx="274">
                  <c:v>13.92</c:v>
                </c:pt>
                <c:pt idx="275">
                  <c:v>14.14</c:v>
                </c:pt>
                <c:pt idx="276">
                  <c:v>13.57</c:v>
                </c:pt>
                <c:pt idx="277">
                  <c:v>13.85</c:v>
                </c:pt>
                <c:pt idx="278">
                  <c:v>14.16</c:v>
                </c:pt>
                <c:pt idx="279">
                  <c:v>14.36</c:v>
                </c:pt>
                <c:pt idx="280">
                  <c:v>15.04</c:v>
                </c:pt>
                <c:pt idx="281">
                  <c:v>14.26</c:v>
                </c:pt>
                <c:pt idx="282">
                  <c:v>14.8</c:v>
                </c:pt>
                <c:pt idx="283">
                  <c:v>13.84</c:v>
                </c:pt>
                <c:pt idx="284">
                  <c:v>12.75</c:v>
                </c:pt>
                <c:pt idx="285">
                  <c:v>12.28</c:v>
                </c:pt>
                <c:pt idx="286">
                  <c:v>13.5</c:v>
                </c:pt>
                <c:pt idx="287">
                  <c:v>14.31</c:v>
                </c:pt>
                <c:pt idx="288">
                  <c:v>13.24</c:v>
                </c:pt>
                <c:pt idx="289">
                  <c:v>12.87</c:v>
                </c:pt>
                <c:pt idx="290">
                  <c:v>13.32</c:v>
                </c:pt>
                <c:pt idx="291">
                  <c:v>13.66</c:v>
                </c:pt>
                <c:pt idx="292">
                  <c:v>13.31</c:v>
                </c:pt>
                <c:pt idx="293">
                  <c:v>13.73</c:v>
                </c:pt>
                <c:pt idx="294">
                  <c:v>13.41</c:v>
                </c:pt>
                <c:pt idx="295">
                  <c:v>14.32</c:v>
                </c:pt>
                <c:pt idx="296">
                  <c:v>12.95</c:v>
                </c:pt>
                <c:pt idx="297">
                  <c:v>12.99</c:v>
                </c:pt>
                <c:pt idx="298">
                  <c:v>13.35</c:v>
                </c:pt>
                <c:pt idx="299">
                  <c:v>13.39</c:v>
                </c:pt>
                <c:pt idx="300">
                  <c:v>13.1</c:v>
                </c:pt>
                <c:pt idx="301">
                  <c:v>13.66</c:v>
                </c:pt>
                <c:pt idx="302">
                  <c:v>11.49</c:v>
                </c:pt>
                <c:pt idx="303">
                  <c:v>13.28</c:v>
                </c:pt>
                <c:pt idx="304">
                  <c:v>12.73</c:v>
                </c:pt>
                <c:pt idx="305">
                  <c:v>12.94</c:v>
                </c:pt>
                <c:pt idx="306">
                  <c:v>12.82</c:v>
                </c:pt>
                <c:pt idx="307">
                  <c:v>12.34</c:v>
                </c:pt>
                <c:pt idx="308">
                  <c:v>14.25</c:v>
                </c:pt>
                <c:pt idx="309">
                  <c:v>13.04</c:v>
                </c:pt>
                <c:pt idx="310">
                  <c:v>12.93</c:v>
                </c:pt>
                <c:pt idx="311">
                  <c:v>12.65</c:v>
                </c:pt>
                <c:pt idx="312">
                  <c:v>14.43</c:v>
                </c:pt>
                <c:pt idx="313">
                  <c:v>13.55</c:v>
                </c:pt>
                <c:pt idx="314">
                  <c:v>13.21</c:v>
                </c:pt>
                <c:pt idx="315">
                  <c:v>14.13</c:v>
                </c:pt>
                <c:pt idx="316">
                  <c:v>13.33</c:v>
                </c:pt>
                <c:pt idx="317">
                  <c:v>13.57</c:v>
                </c:pt>
                <c:pt idx="318">
                  <c:v>14.03</c:v>
                </c:pt>
                <c:pt idx="319">
                  <c:v>15.1</c:v>
                </c:pt>
                <c:pt idx="320">
                  <c:v>14.51</c:v>
                </c:pt>
                <c:pt idx="321">
                  <c:v>15.02</c:v>
                </c:pt>
                <c:pt idx="322">
                  <c:v>15.32</c:v>
                </c:pt>
                <c:pt idx="323">
                  <c:v>15.24</c:v>
                </c:pt>
                <c:pt idx="324">
                  <c:v>15.27</c:v>
                </c:pt>
                <c:pt idx="325">
                  <c:v>14.81</c:v>
                </c:pt>
                <c:pt idx="326">
                  <c:v>14.76</c:v>
                </c:pt>
                <c:pt idx="327">
                  <c:v>15.07</c:v>
                </c:pt>
                <c:pt idx="328">
                  <c:v>16.04</c:v>
                </c:pt>
                <c:pt idx="329">
                  <c:v>15.77</c:v>
                </c:pt>
                <c:pt idx="330">
                  <c:v>14.45</c:v>
                </c:pt>
                <c:pt idx="331">
                  <c:v>15.93</c:v>
                </c:pt>
                <c:pt idx="332">
                  <c:v>15.5</c:v>
                </c:pt>
                <c:pt idx="333">
                  <c:v>16.23</c:v>
                </c:pt>
                <c:pt idx="334">
                  <c:v>16.239999999999998</c:v>
                </c:pt>
                <c:pt idx="335">
                  <c:v>17.09</c:v>
                </c:pt>
                <c:pt idx="336">
                  <c:v>16.96</c:v>
                </c:pt>
                <c:pt idx="337">
                  <c:v>16.68</c:v>
                </c:pt>
                <c:pt idx="338">
                  <c:v>16.05</c:v>
                </c:pt>
                <c:pt idx="339">
                  <c:v>16.760000000000002</c:v>
                </c:pt>
                <c:pt idx="340">
                  <c:v>16.57</c:v>
                </c:pt>
                <c:pt idx="341">
                  <c:v>16.87</c:v>
                </c:pt>
                <c:pt idx="342">
                  <c:v>16.760000000000002</c:v>
                </c:pt>
                <c:pt idx="343">
                  <c:v>16.87</c:v>
                </c:pt>
                <c:pt idx="344">
                  <c:v>16.36</c:v>
                </c:pt>
                <c:pt idx="345">
                  <c:v>16.690000000000001</c:v>
                </c:pt>
                <c:pt idx="346">
                  <c:v>16.91</c:v>
                </c:pt>
                <c:pt idx="347">
                  <c:v>17.46</c:v>
                </c:pt>
                <c:pt idx="348">
                  <c:v>16.29</c:v>
                </c:pt>
                <c:pt idx="349">
                  <c:v>17.3</c:v>
                </c:pt>
                <c:pt idx="350">
                  <c:v>16.850000000000001</c:v>
                </c:pt>
                <c:pt idx="351">
                  <c:v>17.71</c:v>
                </c:pt>
                <c:pt idx="352">
                  <c:v>18.170000000000002</c:v>
                </c:pt>
                <c:pt idx="353">
                  <c:v>17.420000000000002</c:v>
                </c:pt>
                <c:pt idx="354">
                  <c:v>17.5</c:v>
                </c:pt>
                <c:pt idx="355">
                  <c:v>17.510000000000002</c:v>
                </c:pt>
                <c:pt idx="356">
                  <c:v>18.12</c:v>
                </c:pt>
                <c:pt idx="357">
                  <c:v>17.39</c:v>
                </c:pt>
                <c:pt idx="358">
                  <c:v>17.71</c:v>
                </c:pt>
                <c:pt idx="359">
                  <c:v>18.73</c:v>
                </c:pt>
                <c:pt idx="360">
                  <c:v>18.78</c:v>
                </c:pt>
                <c:pt idx="361">
                  <c:v>19.09</c:v>
                </c:pt>
                <c:pt idx="362">
                  <c:v>19.850000000000001</c:v>
                </c:pt>
                <c:pt idx="363">
                  <c:v>19.75</c:v>
                </c:pt>
                <c:pt idx="364">
                  <c:v>18.34</c:v>
                </c:pt>
                <c:pt idx="365">
                  <c:v>20.350000000000001</c:v>
                </c:pt>
                <c:pt idx="366">
                  <c:v>20.29</c:v>
                </c:pt>
                <c:pt idx="367">
                  <c:v>20.48</c:v>
                </c:pt>
                <c:pt idx="368">
                  <c:v>20.07</c:v>
                </c:pt>
                <c:pt idx="369">
                  <c:v>20.56</c:v>
                </c:pt>
                <c:pt idx="370">
                  <c:v>20.54</c:v>
                </c:pt>
                <c:pt idx="371">
                  <c:v>20.61</c:v>
                </c:pt>
                <c:pt idx="372">
                  <c:v>20.7</c:v>
                </c:pt>
                <c:pt idx="373">
                  <c:v>20.96</c:v>
                </c:pt>
                <c:pt idx="374">
                  <c:v>21.69</c:v>
                </c:pt>
                <c:pt idx="375">
                  <c:v>20.89</c:v>
                </c:pt>
                <c:pt idx="376">
                  <c:v>21.29</c:v>
                </c:pt>
                <c:pt idx="377">
                  <c:v>20.9</c:v>
                </c:pt>
                <c:pt idx="378">
                  <c:v>21.45</c:v>
                </c:pt>
                <c:pt idx="379">
                  <c:v>20.66</c:v>
                </c:pt>
                <c:pt idx="380">
                  <c:v>20.95</c:v>
                </c:pt>
                <c:pt idx="381">
                  <c:v>20.93</c:v>
                </c:pt>
                <c:pt idx="382">
                  <c:v>21.3</c:v>
                </c:pt>
                <c:pt idx="383">
                  <c:v>21.1</c:v>
                </c:pt>
                <c:pt idx="384">
                  <c:v>21.91</c:v>
                </c:pt>
                <c:pt idx="385">
                  <c:v>21.22</c:v>
                </c:pt>
                <c:pt idx="386">
                  <c:v>22.02</c:v>
                </c:pt>
                <c:pt idx="387">
                  <c:v>22.59</c:v>
                </c:pt>
                <c:pt idx="388">
                  <c:v>21.98</c:v>
                </c:pt>
                <c:pt idx="389">
                  <c:v>21.33</c:v>
                </c:pt>
                <c:pt idx="390">
                  <c:v>21.62</c:v>
                </c:pt>
                <c:pt idx="391">
                  <c:v>20.64</c:v>
                </c:pt>
                <c:pt idx="392">
                  <c:v>20.83</c:v>
                </c:pt>
                <c:pt idx="393">
                  <c:v>20.74</c:v>
                </c:pt>
                <c:pt idx="394">
                  <c:v>19.489999999999998</c:v>
                </c:pt>
                <c:pt idx="395">
                  <c:v>19.78</c:v>
                </c:pt>
                <c:pt idx="396">
                  <c:v>20.16</c:v>
                </c:pt>
                <c:pt idx="397">
                  <c:v>19.88</c:v>
                </c:pt>
                <c:pt idx="398">
                  <c:v>20.100000000000001</c:v>
                </c:pt>
                <c:pt idx="399">
                  <c:v>20.010000000000002</c:v>
                </c:pt>
                <c:pt idx="400">
                  <c:v>19.739999999999998</c:v>
                </c:pt>
                <c:pt idx="401">
                  <c:v>19.649999999999999</c:v>
                </c:pt>
                <c:pt idx="402">
                  <c:v>22.59</c:v>
                </c:pt>
                <c:pt idx="403">
                  <c:v>19.559999999999999</c:v>
                </c:pt>
                <c:pt idx="404">
                  <c:v>20.2</c:v>
                </c:pt>
                <c:pt idx="405">
                  <c:v>20.34</c:v>
                </c:pt>
                <c:pt idx="406">
                  <c:v>20.309999999999999</c:v>
                </c:pt>
                <c:pt idx="407">
                  <c:v>20.94</c:v>
                </c:pt>
                <c:pt idx="408">
                  <c:v>19.989999999999998</c:v>
                </c:pt>
                <c:pt idx="409">
                  <c:v>19.579999999999998</c:v>
                </c:pt>
                <c:pt idx="410">
                  <c:v>19.79</c:v>
                </c:pt>
                <c:pt idx="411">
                  <c:v>13.47</c:v>
                </c:pt>
                <c:pt idx="412">
                  <c:v>19.260000000000002</c:v>
                </c:pt>
                <c:pt idx="413">
                  <c:v>20.14</c:v>
                </c:pt>
                <c:pt idx="414">
                  <c:v>19.96</c:v>
                </c:pt>
                <c:pt idx="415">
                  <c:v>20.67</c:v>
                </c:pt>
                <c:pt idx="416">
                  <c:v>20.36</c:v>
                </c:pt>
                <c:pt idx="417">
                  <c:v>20.98</c:v>
                </c:pt>
                <c:pt idx="418">
                  <c:v>21.29</c:v>
                </c:pt>
                <c:pt idx="419">
                  <c:v>21.17</c:v>
                </c:pt>
                <c:pt idx="420">
                  <c:v>21.12</c:v>
                </c:pt>
                <c:pt idx="421">
                  <c:v>21.32</c:v>
                </c:pt>
                <c:pt idx="422">
                  <c:v>21.35</c:v>
                </c:pt>
                <c:pt idx="423">
                  <c:v>21.49</c:v>
                </c:pt>
                <c:pt idx="424">
                  <c:v>21.76</c:v>
                </c:pt>
                <c:pt idx="425">
                  <c:v>21.07</c:v>
                </c:pt>
                <c:pt idx="426">
                  <c:v>22.23</c:v>
                </c:pt>
                <c:pt idx="427">
                  <c:v>22.14</c:v>
                </c:pt>
                <c:pt idx="428">
                  <c:v>21.6</c:v>
                </c:pt>
                <c:pt idx="429">
                  <c:v>21.32</c:v>
                </c:pt>
                <c:pt idx="430">
                  <c:v>21.69</c:v>
                </c:pt>
                <c:pt idx="431">
                  <c:v>21.66</c:v>
                </c:pt>
                <c:pt idx="432">
                  <c:v>21.98</c:v>
                </c:pt>
                <c:pt idx="433">
                  <c:v>21.12</c:v>
                </c:pt>
                <c:pt idx="434">
                  <c:v>21.41</c:v>
                </c:pt>
                <c:pt idx="435">
                  <c:v>20.69</c:v>
                </c:pt>
                <c:pt idx="436">
                  <c:v>21.65</c:v>
                </c:pt>
                <c:pt idx="437">
                  <c:v>22.48</c:v>
                </c:pt>
                <c:pt idx="439">
                  <c:v>21.37</c:v>
                </c:pt>
                <c:pt idx="440">
                  <c:v>20.48</c:v>
                </c:pt>
                <c:pt idx="441">
                  <c:v>19.940000000000001</c:v>
                </c:pt>
                <c:pt idx="442">
                  <c:v>20.11</c:v>
                </c:pt>
                <c:pt idx="443">
                  <c:v>20.56</c:v>
                </c:pt>
                <c:pt idx="444">
                  <c:v>20.34</c:v>
                </c:pt>
                <c:pt idx="445">
                  <c:v>20.239999999999998</c:v>
                </c:pt>
                <c:pt idx="446">
                  <c:v>19.440000000000001</c:v>
                </c:pt>
                <c:pt idx="447">
                  <c:v>19.510000000000002</c:v>
                </c:pt>
                <c:pt idx="448">
                  <c:v>19.309999999999999</c:v>
                </c:pt>
                <c:pt idx="449">
                  <c:v>18.850000000000001</c:v>
                </c:pt>
                <c:pt idx="450">
                  <c:v>18.809999999999999</c:v>
                </c:pt>
                <c:pt idx="451">
                  <c:v>19.07</c:v>
                </c:pt>
                <c:pt idx="452">
                  <c:v>19.46</c:v>
                </c:pt>
                <c:pt idx="453">
                  <c:v>19.23</c:v>
                </c:pt>
                <c:pt idx="454">
                  <c:v>18.93</c:v>
                </c:pt>
                <c:pt idx="455">
                  <c:v>18.79</c:v>
                </c:pt>
                <c:pt idx="456">
                  <c:v>19.170000000000002</c:v>
                </c:pt>
                <c:pt idx="457">
                  <c:v>18.579999999999998</c:v>
                </c:pt>
                <c:pt idx="458">
                  <c:v>18.95</c:v>
                </c:pt>
                <c:pt idx="459">
                  <c:v>19.89</c:v>
                </c:pt>
                <c:pt idx="460">
                  <c:v>18.22</c:v>
                </c:pt>
                <c:pt idx="461">
                  <c:v>18.66</c:v>
                </c:pt>
                <c:pt idx="462">
                  <c:v>18.55</c:v>
                </c:pt>
                <c:pt idx="463">
                  <c:v>18.649999999999999</c:v>
                </c:pt>
                <c:pt idx="464">
                  <c:v>18.579999999999998</c:v>
                </c:pt>
                <c:pt idx="465">
                  <c:v>19.93</c:v>
                </c:pt>
                <c:pt idx="466">
                  <c:v>19.34</c:v>
                </c:pt>
                <c:pt idx="467">
                  <c:v>19.510000000000002</c:v>
                </c:pt>
                <c:pt idx="468">
                  <c:v>19.32</c:v>
                </c:pt>
                <c:pt idx="469">
                  <c:v>20.16</c:v>
                </c:pt>
                <c:pt idx="470">
                  <c:v>19.47</c:v>
                </c:pt>
                <c:pt idx="471">
                  <c:v>19.23</c:v>
                </c:pt>
                <c:pt idx="472">
                  <c:v>19.82</c:v>
                </c:pt>
                <c:pt idx="473">
                  <c:v>20.02</c:v>
                </c:pt>
                <c:pt idx="474">
                  <c:v>19.91</c:v>
                </c:pt>
                <c:pt idx="475">
                  <c:v>19.89</c:v>
                </c:pt>
                <c:pt idx="476">
                  <c:v>20.11</c:v>
                </c:pt>
                <c:pt idx="477">
                  <c:v>19.25</c:v>
                </c:pt>
                <c:pt idx="478">
                  <c:v>20.25</c:v>
                </c:pt>
                <c:pt idx="479">
                  <c:v>20.170000000000002</c:v>
                </c:pt>
                <c:pt idx="480">
                  <c:v>19.760000000000002</c:v>
                </c:pt>
                <c:pt idx="481">
                  <c:v>19.579999999999998</c:v>
                </c:pt>
                <c:pt idx="482">
                  <c:v>20.83</c:v>
                </c:pt>
                <c:pt idx="483">
                  <c:v>19.899999999999999</c:v>
                </c:pt>
                <c:pt idx="495">
                  <c:v>20.25</c:v>
                </c:pt>
                <c:pt idx="496">
                  <c:v>20.13</c:v>
                </c:pt>
                <c:pt idx="497">
                  <c:v>19.75</c:v>
                </c:pt>
                <c:pt idx="498">
                  <c:v>19.02</c:v>
                </c:pt>
                <c:pt idx="499">
                  <c:v>19.510000000000002</c:v>
                </c:pt>
                <c:pt idx="500">
                  <c:v>18.59</c:v>
                </c:pt>
                <c:pt idx="501">
                  <c:v>17.829999999999998</c:v>
                </c:pt>
                <c:pt idx="502">
                  <c:v>18.88</c:v>
                </c:pt>
                <c:pt idx="503">
                  <c:v>17.809999999999999</c:v>
                </c:pt>
                <c:pt idx="504">
                  <c:v>18.52</c:v>
                </c:pt>
                <c:pt idx="505">
                  <c:v>18.88</c:v>
                </c:pt>
                <c:pt idx="506">
                  <c:v>19.079999999999998</c:v>
                </c:pt>
                <c:pt idx="507">
                  <c:v>19.03</c:v>
                </c:pt>
                <c:pt idx="508">
                  <c:v>19.579999999999998</c:v>
                </c:pt>
                <c:pt idx="509">
                  <c:v>20</c:v>
                </c:pt>
                <c:pt idx="510">
                  <c:v>20.72</c:v>
                </c:pt>
                <c:pt idx="511">
                  <c:v>19.23</c:v>
                </c:pt>
                <c:pt idx="512">
                  <c:v>19.5</c:v>
                </c:pt>
                <c:pt idx="513">
                  <c:v>20</c:v>
                </c:pt>
                <c:pt idx="514">
                  <c:v>20.12</c:v>
                </c:pt>
                <c:pt idx="515">
                  <c:v>20.2</c:v>
                </c:pt>
                <c:pt idx="516">
                  <c:v>19.61</c:v>
                </c:pt>
                <c:pt idx="517">
                  <c:v>20</c:v>
                </c:pt>
                <c:pt idx="518">
                  <c:v>20.54</c:v>
                </c:pt>
                <c:pt idx="519">
                  <c:v>19.73</c:v>
                </c:pt>
                <c:pt idx="520">
                  <c:v>20.190000000000001</c:v>
                </c:pt>
                <c:pt idx="521">
                  <c:v>20.53</c:v>
                </c:pt>
                <c:pt idx="522">
                  <c:v>20.88</c:v>
                </c:pt>
                <c:pt idx="523">
                  <c:v>21.38</c:v>
                </c:pt>
                <c:pt idx="524">
                  <c:v>21.16</c:v>
                </c:pt>
                <c:pt idx="525">
                  <c:v>20.32</c:v>
                </c:pt>
                <c:pt idx="526">
                  <c:v>24.02</c:v>
                </c:pt>
                <c:pt idx="527">
                  <c:v>21.95</c:v>
                </c:pt>
                <c:pt idx="528">
                  <c:v>21.6</c:v>
                </c:pt>
                <c:pt idx="529">
                  <c:v>22.74</c:v>
                </c:pt>
                <c:pt idx="530">
                  <c:v>22.91</c:v>
                </c:pt>
                <c:pt idx="531">
                  <c:v>21.82</c:v>
                </c:pt>
                <c:pt idx="532">
                  <c:v>22.67</c:v>
                </c:pt>
                <c:pt idx="533">
                  <c:v>22.13</c:v>
                </c:pt>
                <c:pt idx="534">
                  <c:v>22.98</c:v>
                </c:pt>
                <c:pt idx="535">
                  <c:v>23.38</c:v>
                </c:pt>
                <c:pt idx="536">
                  <c:v>22.21</c:v>
                </c:pt>
                <c:pt idx="537">
                  <c:v>22.11</c:v>
                </c:pt>
                <c:pt idx="538">
                  <c:v>22.6</c:v>
                </c:pt>
                <c:pt idx="539">
                  <c:v>22.95</c:v>
                </c:pt>
                <c:pt idx="540">
                  <c:v>23</c:v>
                </c:pt>
                <c:pt idx="541">
                  <c:v>23.57</c:v>
                </c:pt>
                <c:pt idx="542">
                  <c:v>23.45</c:v>
                </c:pt>
                <c:pt idx="543">
                  <c:v>22.96</c:v>
                </c:pt>
                <c:pt idx="544">
                  <c:v>22.3</c:v>
                </c:pt>
                <c:pt idx="545">
                  <c:v>24.42</c:v>
                </c:pt>
                <c:pt idx="546">
                  <c:v>22.47</c:v>
                </c:pt>
                <c:pt idx="547">
                  <c:v>26.53</c:v>
                </c:pt>
                <c:pt idx="548">
                  <c:v>23.86</c:v>
                </c:pt>
                <c:pt idx="549">
                  <c:v>22.17</c:v>
                </c:pt>
                <c:pt idx="550">
                  <c:v>21.87</c:v>
                </c:pt>
                <c:pt idx="551">
                  <c:v>22.14</c:v>
                </c:pt>
                <c:pt idx="552">
                  <c:v>22.32</c:v>
                </c:pt>
                <c:pt idx="553">
                  <c:v>22.04</c:v>
                </c:pt>
                <c:pt idx="554">
                  <c:v>22.81</c:v>
                </c:pt>
                <c:pt idx="555">
                  <c:v>22.52</c:v>
                </c:pt>
                <c:pt idx="556">
                  <c:v>24.32</c:v>
                </c:pt>
                <c:pt idx="557">
                  <c:v>22.99</c:v>
                </c:pt>
                <c:pt idx="558">
                  <c:v>21.85</c:v>
                </c:pt>
                <c:pt idx="559">
                  <c:v>23.18</c:v>
                </c:pt>
                <c:pt idx="560">
                  <c:v>23.11</c:v>
                </c:pt>
                <c:pt idx="563">
                  <c:v>23.48</c:v>
                </c:pt>
                <c:pt idx="564">
                  <c:v>23.13</c:v>
                </c:pt>
                <c:pt idx="565">
                  <c:v>23.98</c:v>
                </c:pt>
                <c:pt idx="566">
                  <c:v>23.3</c:v>
                </c:pt>
                <c:pt idx="567">
                  <c:v>24.11</c:v>
                </c:pt>
                <c:pt idx="568">
                  <c:v>23.37</c:v>
                </c:pt>
                <c:pt idx="569">
                  <c:v>23.88</c:v>
                </c:pt>
                <c:pt idx="570">
                  <c:v>24.45</c:v>
                </c:pt>
                <c:pt idx="571">
                  <c:v>24.51</c:v>
                </c:pt>
                <c:pt idx="572">
                  <c:v>24.44</c:v>
                </c:pt>
                <c:pt idx="573">
                  <c:v>25.26</c:v>
                </c:pt>
                <c:pt idx="574">
                  <c:v>24</c:v>
                </c:pt>
                <c:pt idx="575">
                  <c:v>24.04</c:v>
                </c:pt>
                <c:pt idx="576">
                  <c:v>26.55</c:v>
                </c:pt>
                <c:pt idx="577">
                  <c:v>24.83</c:v>
                </c:pt>
                <c:pt idx="578">
                  <c:v>25.94</c:v>
                </c:pt>
                <c:pt idx="579">
                  <c:v>26.26</c:v>
                </c:pt>
                <c:pt idx="580">
                  <c:v>26.01</c:v>
                </c:pt>
                <c:pt idx="581">
                  <c:v>25.05</c:v>
                </c:pt>
                <c:pt idx="582">
                  <c:v>27.07</c:v>
                </c:pt>
                <c:pt idx="583">
                  <c:v>26.57</c:v>
                </c:pt>
                <c:pt idx="584">
                  <c:v>25.21</c:v>
                </c:pt>
                <c:pt idx="585">
                  <c:v>25.25</c:v>
                </c:pt>
                <c:pt idx="586">
                  <c:v>25.07</c:v>
                </c:pt>
                <c:pt idx="587">
                  <c:v>25.46</c:v>
                </c:pt>
                <c:pt idx="588">
                  <c:v>25.42</c:v>
                </c:pt>
                <c:pt idx="589">
                  <c:v>25.76</c:v>
                </c:pt>
                <c:pt idx="590">
                  <c:v>25.62</c:v>
                </c:pt>
                <c:pt idx="591">
                  <c:v>26.32</c:v>
                </c:pt>
                <c:pt idx="592">
                  <c:v>25.21</c:v>
                </c:pt>
                <c:pt idx="593">
                  <c:v>25.06</c:v>
                </c:pt>
                <c:pt idx="594">
                  <c:v>24.64</c:v>
                </c:pt>
                <c:pt idx="595">
                  <c:v>24.86</c:v>
                </c:pt>
                <c:pt idx="596">
                  <c:v>25.3</c:v>
                </c:pt>
                <c:pt idx="597">
                  <c:v>24.73</c:v>
                </c:pt>
                <c:pt idx="598">
                  <c:v>25.02</c:v>
                </c:pt>
                <c:pt idx="599">
                  <c:v>24.69</c:v>
                </c:pt>
                <c:pt idx="600">
                  <c:v>27.01</c:v>
                </c:pt>
                <c:pt idx="601">
                  <c:v>25.34</c:v>
                </c:pt>
                <c:pt idx="602">
                  <c:v>25.87</c:v>
                </c:pt>
                <c:pt idx="603">
                  <c:v>24.83</c:v>
                </c:pt>
                <c:pt idx="604">
                  <c:v>26.12</c:v>
                </c:pt>
                <c:pt idx="605">
                  <c:v>24.88</c:v>
                </c:pt>
                <c:pt idx="606">
                  <c:v>25.18</c:v>
                </c:pt>
                <c:pt idx="607">
                  <c:v>24.22</c:v>
                </c:pt>
                <c:pt idx="608">
                  <c:v>25.11</c:v>
                </c:pt>
                <c:pt idx="609">
                  <c:v>25.31</c:v>
                </c:pt>
                <c:pt idx="610">
                  <c:v>26.98</c:v>
                </c:pt>
                <c:pt idx="611">
                  <c:v>24.99</c:v>
                </c:pt>
                <c:pt idx="612">
                  <c:v>26.16</c:v>
                </c:pt>
                <c:pt idx="613">
                  <c:v>25.98</c:v>
                </c:pt>
                <c:pt idx="614">
                  <c:v>25.13</c:v>
                </c:pt>
                <c:pt idx="615">
                  <c:v>26.51</c:v>
                </c:pt>
                <c:pt idx="620">
                  <c:v>26.6</c:v>
                </c:pt>
                <c:pt idx="621">
                  <c:v>27.26</c:v>
                </c:pt>
                <c:pt idx="622">
                  <c:v>27.26</c:v>
                </c:pt>
                <c:pt idx="623">
                  <c:v>27.02</c:v>
                </c:pt>
                <c:pt idx="624">
                  <c:v>26.74</c:v>
                </c:pt>
                <c:pt idx="625">
                  <c:v>27.83</c:v>
                </c:pt>
                <c:pt idx="626">
                  <c:v>27.4</c:v>
                </c:pt>
                <c:pt idx="627">
                  <c:v>27.09</c:v>
                </c:pt>
                <c:pt idx="628">
                  <c:v>25.62</c:v>
                </c:pt>
                <c:pt idx="629">
                  <c:v>27.68</c:v>
                </c:pt>
                <c:pt idx="630">
                  <c:v>27.32</c:v>
                </c:pt>
                <c:pt idx="631">
                  <c:v>27.65</c:v>
                </c:pt>
                <c:pt idx="632">
                  <c:v>28.46</c:v>
                </c:pt>
                <c:pt idx="633">
                  <c:v>28.3</c:v>
                </c:pt>
                <c:pt idx="634">
                  <c:v>26.37</c:v>
                </c:pt>
                <c:pt idx="635">
                  <c:v>26.36</c:v>
                </c:pt>
                <c:pt idx="636">
                  <c:v>26.1</c:v>
                </c:pt>
                <c:pt idx="637">
                  <c:v>25.75</c:v>
                </c:pt>
                <c:pt idx="638">
                  <c:v>25.28</c:v>
                </c:pt>
                <c:pt idx="639">
                  <c:v>23.85</c:v>
                </c:pt>
                <c:pt idx="640">
                  <c:v>24.04</c:v>
                </c:pt>
                <c:pt idx="641">
                  <c:v>23.36</c:v>
                </c:pt>
                <c:pt idx="642">
                  <c:v>23.36</c:v>
                </c:pt>
                <c:pt idx="643">
                  <c:v>24.21</c:v>
                </c:pt>
                <c:pt idx="644">
                  <c:v>22.51</c:v>
                </c:pt>
                <c:pt idx="645">
                  <c:v>23.37</c:v>
                </c:pt>
                <c:pt idx="646">
                  <c:v>23.88</c:v>
                </c:pt>
                <c:pt idx="647">
                  <c:v>24.29</c:v>
                </c:pt>
                <c:pt idx="648">
                  <c:v>23.96</c:v>
                </c:pt>
                <c:pt idx="649">
                  <c:v>23.51</c:v>
                </c:pt>
                <c:pt idx="650">
                  <c:v>24.02</c:v>
                </c:pt>
                <c:pt idx="651">
                  <c:v>23.14</c:v>
                </c:pt>
                <c:pt idx="652">
                  <c:v>23.17</c:v>
                </c:pt>
                <c:pt idx="653">
                  <c:v>21.94</c:v>
                </c:pt>
                <c:pt idx="654">
                  <c:v>22.17</c:v>
                </c:pt>
                <c:pt idx="655">
                  <c:v>24.05</c:v>
                </c:pt>
                <c:pt idx="656">
                  <c:v>23.19</c:v>
                </c:pt>
                <c:pt idx="657">
                  <c:v>23.01</c:v>
                </c:pt>
                <c:pt idx="658">
                  <c:v>22.9</c:v>
                </c:pt>
                <c:pt idx="659">
                  <c:v>23.99</c:v>
                </c:pt>
                <c:pt idx="660">
                  <c:v>24.22</c:v>
                </c:pt>
                <c:pt idx="661">
                  <c:v>23.8</c:v>
                </c:pt>
                <c:pt idx="662">
                  <c:v>24.57</c:v>
                </c:pt>
                <c:pt idx="663">
                  <c:v>25.31</c:v>
                </c:pt>
                <c:pt idx="664">
                  <c:v>26.88</c:v>
                </c:pt>
                <c:pt idx="665">
                  <c:v>24.91</c:v>
                </c:pt>
                <c:pt idx="666">
                  <c:v>24.61</c:v>
                </c:pt>
                <c:pt idx="667">
                  <c:v>24.25</c:v>
                </c:pt>
                <c:pt idx="668">
                  <c:v>24.54</c:v>
                </c:pt>
                <c:pt idx="669">
                  <c:v>25.17</c:v>
                </c:pt>
                <c:pt idx="670">
                  <c:v>23.92</c:v>
                </c:pt>
                <c:pt idx="671">
                  <c:v>26.25</c:v>
                </c:pt>
                <c:pt idx="672">
                  <c:v>25.25</c:v>
                </c:pt>
                <c:pt idx="673">
                  <c:v>23.6</c:v>
                </c:pt>
                <c:pt idx="674">
                  <c:v>25.76</c:v>
                </c:pt>
                <c:pt idx="675">
                  <c:v>23.98</c:v>
                </c:pt>
                <c:pt idx="676">
                  <c:v>24.18</c:v>
                </c:pt>
                <c:pt idx="677">
                  <c:v>25.39</c:v>
                </c:pt>
                <c:pt idx="678">
                  <c:v>25.11</c:v>
                </c:pt>
                <c:pt idx="679">
                  <c:v>25.12</c:v>
                </c:pt>
                <c:pt idx="680">
                  <c:v>26.32</c:v>
                </c:pt>
                <c:pt idx="681">
                  <c:v>25.64</c:v>
                </c:pt>
                <c:pt idx="682">
                  <c:v>24.78</c:v>
                </c:pt>
                <c:pt idx="683">
                  <c:v>25.52</c:v>
                </c:pt>
                <c:pt idx="684">
                  <c:v>28.01</c:v>
                </c:pt>
                <c:pt idx="685">
                  <c:v>25.13</c:v>
                </c:pt>
                <c:pt idx="686">
                  <c:v>23.74</c:v>
                </c:pt>
                <c:pt idx="687">
                  <c:v>25.02</c:v>
                </c:pt>
                <c:pt idx="688">
                  <c:v>24.29</c:v>
                </c:pt>
                <c:pt idx="689">
                  <c:v>34.36</c:v>
                </c:pt>
                <c:pt idx="690">
                  <c:v>24.05</c:v>
                </c:pt>
                <c:pt idx="691">
                  <c:v>26.36</c:v>
                </c:pt>
                <c:pt idx="692">
                  <c:v>22.57</c:v>
                </c:pt>
                <c:pt idx="693">
                  <c:v>21.41</c:v>
                </c:pt>
                <c:pt idx="694">
                  <c:v>21.59</c:v>
                </c:pt>
                <c:pt idx="695">
                  <c:v>20.28</c:v>
                </c:pt>
                <c:pt idx="696">
                  <c:v>19.97</c:v>
                </c:pt>
                <c:pt idx="697">
                  <c:v>20.100000000000001</c:v>
                </c:pt>
                <c:pt idx="698">
                  <c:v>20.23</c:v>
                </c:pt>
                <c:pt idx="699">
                  <c:v>21.31</c:v>
                </c:pt>
                <c:pt idx="700">
                  <c:v>22.25</c:v>
                </c:pt>
                <c:pt idx="701">
                  <c:v>22.16</c:v>
                </c:pt>
                <c:pt idx="702">
                  <c:v>22.82</c:v>
                </c:pt>
                <c:pt idx="703">
                  <c:v>22.54</c:v>
                </c:pt>
                <c:pt idx="704">
                  <c:v>21.49</c:v>
                </c:pt>
                <c:pt idx="705">
                  <c:v>22.35</c:v>
                </c:pt>
                <c:pt idx="706">
                  <c:v>22.34</c:v>
                </c:pt>
                <c:pt idx="707">
                  <c:v>21.92</c:v>
                </c:pt>
                <c:pt idx="708">
                  <c:v>22.21</c:v>
                </c:pt>
                <c:pt idx="709">
                  <c:v>22.13</c:v>
                </c:pt>
                <c:pt idx="710">
                  <c:v>23.03</c:v>
                </c:pt>
                <c:pt idx="711">
                  <c:v>23.81</c:v>
                </c:pt>
                <c:pt idx="712">
                  <c:v>22.87</c:v>
                </c:pt>
                <c:pt idx="713">
                  <c:v>23.5</c:v>
                </c:pt>
                <c:pt idx="714">
                  <c:v>22.7</c:v>
                </c:pt>
                <c:pt idx="715">
                  <c:v>23.78</c:v>
                </c:pt>
                <c:pt idx="716">
                  <c:v>23.67</c:v>
                </c:pt>
                <c:pt idx="717">
                  <c:v>25.03</c:v>
                </c:pt>
                <c:pt idx="718">
                  <c:v>24.06</c:v>
                </c:pt>
                <c:pt idx="719">
                  <c:v>22.96</c:v>
                </c:pt>
                <c:pt idx="720">
                  <c:v>23.62</c:v>
                </c:pt>
                <c:pt idx="721">
                  <c:v>23.63</c:v>
                </c:pt>
                <c:pt idx="722">
                  <c:v>23.97</c:v>
                </c:pt>
                <c:pt idx="723">
                  <c:v>23.19</c:v>
                </c:pt>
                <c:pt idx="724">
                  <c:v>24.11</c:v>
                </c:pt>
                <c:pt idx="725">
                  <c:v>21.69</c:v>
                </c:pt>
                <c:pt idx="726">
                  <c:v>26.85</c:v>
                </c:pt>
                <c:pt idx="727">
                  <c:v>25.31</c:v>
                </c:pt>
                <c:pt idx="728">
                  <c:v>25.17</c:v>
                </c:pt>
                <c:pt idx="729">
                  <c:v>27.36</c:v>
                </c:pt>
                <c:pt idx="730">
                  <c:v>24.31</c:v>
                </c:pt>
                <c:pt idx="731">
                  <c:v>23.35</c:v>
                </c:pt>
                <c:pt idx="732">
                  <c:v>26.97</c:v>
                </c:pt>
                <c:pt idx="733">
                  <c:v>26.95</c:v>
                </c:pt>
                <c:pt idx="734">
                  <c:v>25.4</c:v>
                </c:pt>
                <c:pt idx="735">
                  <c:v>24.61</c:v>
                </c:pt>
                <c:pt idx="736">
                  <c:v>24.03</c:v>
                </c:pt>
                <c:pt idx="737">
                  <c:v>24.31</c:v>
                </c:pt>
                <c:pt idx="738">
                  <c:v>23.25</c:v>
                </c:pt>
                <c:pt idx="739">
                  <c:v>23.21</c:v>
                </c:pt>
                <c:pt idx="740">
                  <c:v>23.47</c:v>
                </c:pt>
                <c:pt idx="741">
                  <c:v>23.38</c:v>
                </c:pt>
                <c:pt idx="742">
                  <c:v>22.63</c:v>
                </c:pt>
                <c:pt idx="743">
                  <c:v>22.54</c:v>
                </c:pt>
                <c:pt idx="744">
                  <c:v>22.52</c:v>
                </c:pt>
                <c:pt idx="745">
                  <c:v>23.74</c:v>
                </c:pt>
                <c:pt idx="746">
                  <c:v>23.25</c:v>
                </c:pt>
                <c:pt idx="747">
                  <c:v>23.94</c:v>
                </c:pt>
                <c:pt idx="748">
                  <c:v>23.35</c:v>
                </c:pt>
                <c:pt idx="749">
                  <c:v>24.55</c:v>
                </c:pt>
                <c:pt idx="750">
                  <c:v>24.42</c:v>
                </c:pt>
                <c:pt idx="751">
                  <c:v>23.77</c:v>
                </c:pt>
                <c:pt idx="752">
                  <c:v>26.13</c:v>
                </c:pt>
                <c:pt idx="753">
                  <c:v>25.02</c:v>
                </c:pt>
                <c:pt idx="754">
                  <c:v>26.44</c:v>
                </c:pt>
                <c:pt idx="755">
                  <c:v>26.07</c:v>
                </c:pt>
                <c:pt idx="756">
                  <c:v>29.48</c:v>
                </c:pt>
                <c:pt idx="757">
                  <c:v>30.14</c:v>
                </c:pt>
                <c:pt idx="758">
                  <c:v>28.48</c:v>
                </c:pt>
                <c:pt idx="759">
                  <c:v>26.84</c:v>
                </c:pt>
                <c:pt idx="760">
                  <c:v>27.92</c:v>
                </c:pt>
                <c:pt idx="761">
                  <c:v>27.96</c:v>
                </c:pt>
                <c:pt idx="762">
                  <c:v>29.59</c:v>
                </c:pt>
                <c:pt idx="763">
                  <c:v>30.05</c:v>
                </c:pt>
                <c:pt idx="764">
                  <c:v>27.82</c:v>
                </c:pt>
                <c:pt idx="765">
                  <c:v>30.98</c:v>
                </c:pt>
                <c:pt idx="766">
                  <c:v>30.06</c:v>
                </c:pt>
                <c:pt idx="767">
                  <c:v>29.86</c:v>
                </c:pt>
                <c:pt idx="768">
                  <c:v>30.19</c:v>
                </c:pt>
                <c:pt idx="769">
                  <c:v>30.94</c:v>
                </c:pt>
                <c:pt idx="770">
                  <c:v>29.62</c:v>
                </c:pt>
                <c:pt idx="771">
                  <c:v>30.23</c:v>
                </c:pt>
                <c:pt idx="773">
                  <c:v>30.62</c:v>
                </c:pt>
                <c:pt idx="774">
                  <c:v>32.97</c:v>
                </c:pt>
                <c:pt idx="775">
                  <c:v>32.15</c:v>
                </c:pt>
                <c:pt idx="776">
                  <c:v>32.64</c:v>
                </c:pt>
                <c:pt idx="777">
                  <c:v>32.61</c:v>
                </c:pt>
                <c:pt idx="778">
                  <c:v>34.61</c:v>
                </c:pt>
                <c:pt idx="779">
                  <c:v>34.39</c:v>
                </c:pt>
                <c:pt idx="780">
                  <c:v>33.39</c:v>
                </c:pt>
                <c:pt idx="781">
                  <c:v>30.85</c:v>
                </c:pt>
                <c:pt idx="782">
                  <c:v>30.02</c:v>
                </c:pt>
                <c:pt idx="783">
                  <c:v>29.72</c:v>
                </c:pt>
                <c:pt idx="784">
                  <c:v>29.79</c:v>
                </c:pt>
                <c:pt idx="785">
                  <c:v>30.8</c:v>
                </c:pt>
                <c:pt idx="786">
                  <c:v>28.98</c:v>
                </c:pt>
                <c:pt idx="787">
                  <c:v>28.29</c:v>
                </c:pt>
                <c:pt idx="788">
                  <c:v>25.66</c:v>
                </c:pt>
                <c:pt idx="789">
                  <c:v>27.29</c:v>
                </c:pt>
                <c:pt idx="790">
                  <c:v>27.96</c:v>
                </c:pt>
                <c:pt idx="791">
                  <c:v>27.96</c:v>
                </c:pt>
                <c:pt idx="792">
                  <c:v>29.52</c:v>
                </c:pt>
                <c:pt idx="793">
                  <c:v>28.17</c:v>
                </c:pt>
                <c:pt idx="794">
                  <c:v>28.27</c:v>
                </c:pt>
                <c:pt idx="795">
                  <c:v>28.81</c:v>
                </c:pt>
                <c:pt idx="796">
                  <c:v>28.81</c:v>
                </c:pt>
                <c:pt idx="797">
                  <c:v>29.54</c:v>
                </c:pt>
                <c:pt idx="798">
                  <c:v>31.06</c:v>
                </c:pt>
                <c:pt idx="799">
                  <c:v>28.91</c:v>
                </c:pt>
                <c:pt idx="800">
                  <c:v>30.27</c:v>
                </c:pt>
                <c:pt idx="801">
                  <c:v>29.54</c:v>
                </c:pt>
                <c:pt idx="802">
                  <c:v>29.86</c:v>
                </c:pt>
                <c:pt idx="803">
                  <c:v>28.87</c:v>
                </c:pt>
                <c:pt idx="804">
                  <c:v>30.07</c:v>
                </c:pt>
                <c:pt idx="805" formatCode="General">
                  <c:v>28.56</c:v>
                </c:pt>
                <c:pt idx="806" formatCode="General">
                  <c:v>29.33</c:v>
                </c:pt>
              </c:numCache>
            </c:numRef>
          </c:val>
          <c:smooth val="0"/>
          <c:extLst>
            <c:ext xmlns:c16="http://schemas.microsoft.com/office/drawing/2014/chart" uri="{C3380CC4-5D6E-409C-BE32-E72D297353CC}">
              <c16:uniqueId val="{00000000-FEC6-46D6-81DD-CA7A8BF97D0F}"/>
            </c:ext>
          </c:extLst>
        </c:ser>
        <c:dLbls>
          <c:showLegendKey val="0"/>
          <c:showVal val="0"/>
          <c:showCatName val="0"/>
          <c:showSerName val="0"/>
          <c:showPercent val="0"/>
          <c:showBubbleSize val="0"/>
        </c:dLbls>
        <c:smooth val="0"/>
        <c:axId val="2064610480"/>
        <c:axId val="1"/>
      </c:lineChart>
      <c:catAx>
        <c:axId val="2064610480"/>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4610480"/>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in calf</a:t>
            </a:r>
          </a:p>
        </c:rich>
      </c:tx>
      <c:overlay val="0"/>
    </c:title>
    <c:autoTitleDeleted val="0"/>
    <c:plotArea>
      <c:layout/>
      <c:lineChart>
        <c:grouping val="standard"/>
        <c:varyColors val="0"/>
        <c:ser>
          <c:idx val="6"/>
          <c:order val="0"/>
          <c:tx>
            <c:strRef>
              <c:f>Summary!$N$3</c:f>
              <c:strCache>
                <c:ptCount val="1"/>
                <c:pt idx="0">
                  <c:v>Cows in calf</c:v>
                </c:pt>
              </c:strCache>
            </c:strRef>
          </c:tx>
          <c:spPr>
            <a:ln w="12700">
              <a:solidFill>
                <a:schemeClr val="tx1"/>
              </a:solidFill>
            </a:ln>
          </c:spPr>
          <c:marker>
            <c:symbol val="none"/>
          </c:marker>
          <c:cat>
            <c:numRef>
              <c:f>Summary!$B$4:$B$821</c:f>
              <c:numCache>
                <c:formatCode>General</c:formatCode>
                <c:ptCount val="818"/>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N$4:$N$819</c:f>
              <c:numCache>
                <c:formatCode>0.00</c:formatCode>
                <c:ptCount val="816"/>
                <c:pt idx="0">
                  <c:v>12.61</c:v>
                </c:pt>
                <c:pt idx="1">
                  <c:v>10.31</c:v>
                </c:pt>
                <c:pt idx="3">
                  <c:v>10.38</c:v>
                </c:pt>
                <c:pt idx="4">
                  <c:v>10.52</c:v>
                </c:pt>
                <c:pt idx="6">
                  <c:v>9.1999999999999993</c:v>
                </c:pt>
                <c:pt idx="7">
                  <c:v>9.68</c:v>
                </c:pt>
                <c:pt idx="13">
                  <c:v>10.52</c:v>
                </c:pt>
                <c:pt idx="15">
                  <c:v>12.05</c:v>
                </c:pt>
                <c:pt idx="19">
                  <c:v>9.76</c:v>
                </c:pt>
                <c:pt idx="20">
                  <c:v>9.6300000000000008</c:v>
                </c:pt>
                <c:pt idx="25">
                  <c:v>10</c:v>
                </c:pt>
                <c:pt idx="27">
                  <c:v>13.49</c:v>
                </c:pt>
                <c:pt idx="28">
                  <c:v>12</c:v>
                </c:pt>
                <c:pt idx="31">
                  <c:v>11.59</c:v>
                </c:pt>
                <c:pt idx="34">
                  <c:v>11.92</c:v>
                </c:pt>
                <c:pt idx="36">
                  <c:v>11.48</c:v>
                </c:pt>
                <c:pt idx="37">
                  <c:v>10.28</c:v>
                </c:pt>
                <c:pt idx="38">
                  <c:v>12</c:v>
                </c:pt>
                <c:pt idx="40">
                  <c:v>11.08</c:v>
                </c:pt>
                <c:pt idx="42">
                  <c:v>12</c:v>
                </c:pt>
                <c:pt idx="43">
                  <c:v>11.08</c:v>
                </c:pt>
                <c:pt idx="45">
                  <c:v>12.37</c:v>
                </c:pt>
                <c:pt idx="47">
                  <c:v>13.02</c:v>
                </c:pt>
                <c:pt idx="48">
                  <c:v>13.7</c:v>
                </c:pt>
                <c:pt idx="49">
                  <c:v>12.1</c:v>
                </c:pt>
                <c:pt idx="50">
                  <c:v>11.3</c:v>
                </c:pt>
                <c:pt idx="51">
                  <c:v>11.8</c:v>
                </c:pt>
                <c:pt idx="52">
                  <c:v>10.85</c:v>
                </c:pt>
                <c:pt idx="53">
                  <c:v>10.97</c:v>
                </c:pt>
                <c:pt idx="57">
                  <c:v>10.220000000000001</c:v>
                </c:pt>
                <c:pt idx="61">
                  <c:v>15</c:v>
                </c:pt>
                <c:pt idx="62">
                  <c:v>11.22</c:v>
                </c:pt>
                <c:pt idx="63">
                  <c:v>11.34</c:v>
                </c:pt>
                <c:pt idx="64">
                  <c:v>12.38</c:v>
                </c:pt>
                <c:pt idx="65">
                  <c:v>10</c:v>
                </c:pt>
                <c:pt idx="67">
                  <c:v>19.48</c:v>
                </c:pt>
                <c:pt idx="69">
                  <c:v>10.96</c:v>
                </c:pt>
                <c:pt idx="70">
                  <c:v>12.64</c:v>
                </c:pt>
                <c:pt idx="71">
                  <c:v>13.13</c:v>
                </c:pt>
                <c:pt idx="73">
                  <c:v>15</c:v>
                </c:pt>
                <c:pt idx="74">
                  <c:v>17.079999999999998</c:v>
                </c:pt>
                <c:pt idx="75">
                  <c:v>18.37</c:v>
                </c:pt>
                <c:pt idx="76">
                  <c:v>18.37</c:v>
                </c:pt>
                <c:pt idx="79">
                  <c:v>16.73</c:v>
                </c:pt>
                <c:pt idx="80">
                  <c:v>16.850000000000001</c:v>
                </c:pt>
                <c:pt idx="81">
                  <c:v>14.67</c:v>
                </c:pt>
                <c:pt idx="83">
                  <c:v>18.809999999999999</c:v>
                </c:pt>
                <c:pt idx="84">
                  <c:v>14.6</c:v>
                </c:pt>
                <c:pt idx="88">
                  <c:v>15.8</c:v>
                </c:pt>
                <c:pt idx="90">
                  <c:v>15.97</c:v>
                </c:pt>
                <c:pt idx="92">
                  <c:v>15.69</c:v>
                </c:pt>
                <c:pt idx="93">
                  <c:v>13.06</c:v>
                </c:pt>
                <c:pt idx="96">
                  <c:v>12.48</c:v>
                </c:pt>
                <c:pt idx="97">
                  <c:v>12.54</c:v>
                </c:pt>
                <c:pt idx="98">
                  <c:v>10.92</c:v>
                </c:pt>
                <c:pt idx="100">
                  <c:v>12.42</c:v>
                </c:pt>
                <c:pt idx="101">
                  <c:v>13.27</c:v>
                </c:pt>
                <c:pt idx="102">
                  <c:v>11.31</c:v>
                </c:pt>
                <c:pt idx="109">
                  <c:v>14.24</c:v>
                </c:pt>
                <c:pt idx="110">
                  <c:v>12.27</c:v>
                </c:pt>
                <c:pt idx="113">
                  <c:v>15.79</c:v>
                </c:pt>
                <c:pt idx="116">
                  <c:v>19.41</c:v>
                </c:pt>
                <c:pt idx="129">
                  <c:v>16.7</c:v>
                </c:pt>
                <c:pt idx="134">
                  <c:v>14.47</c:v>
                </c:pt>
                <c:pt idx="141">
                  <c:v>14.49</c:v>
                </c:pt>
                <c:pt idx="144">
                  <c:v>13.29</c:v>
                </c:pt>
                <c:pt idx="146">
                  <c:v>12.67</c:v>
                </c:pt>
                <c:pt idx="149">
                  <c:v>10.36</c:v>
                </c:pt>
                <c:pt idx="150">
                  <c:v>13.88</c:v>
                </c:pt>
                <c:pt idx="151">
                  <c:v>11.06</c:v>
                </c:pt>
                <c:pt idx="153">
                  <c:v>12.43</c:v>
                </c:pt>
                <c:pt idx="158">
                  <c:v>17.100000000000001</c:v>
                </c:pt>
                <c:pt idx="163">
                  <c:v>11.14</c:v>
                </c:pt>
                <c:pt idx="170">
                  <c:v>15.88</c:v>
                </c:pt>
                <c:pt idx="174">
                  <c:v>10.11</c:v>
                </c:pt>
                <c:pt idx="175">
                  <c:v>12.37</c:v>
                </c:pt>
                <c:pt idx="177">
                  <c:v>11.5</c:v>
                </c:pt>
                <c:pt idx="179">
                  <c:v>10.14</c:v>
                </c:pt>
                <c:pt idx="184">
                  <c:v>12.1</c:v>
                </c:pt>
                <c:pt idx="185">
                  <c:v>12.48</c:v>
                </c:pt>
                <c:pt idx="191">
                  <c:v>13.28</c:v>
                </c:pt>
                <c:pt idx="194">
                  <c:v>10.52</c:v>
                </c:pt>
                <c:pt idx="195">
                  <c:v>13.1</c:v>
                </c:pt>
                <c:pt idx="200">
                  <c:v>12.95</c:v>
                </c:pt>
                <c:pt idx="201">
                  <c:v>11.67</c:v>
                </c:pt>
                <c:pt idx="202">
                  <c:v>12.48</c:v>
                </c:pt>
                <c:pt idx="204">
                  <c:v>13.16</c:v>
                </c:pt>
                <c:pt idx="213">
                  <c:v>16.14</c:v>
                </c:pt>
                <c:pt idx="215">
                  <c:v>12.95</c:v>
                </c:pt>
                <c:pt idx="216">
                  <c:v>14.38</c:v>
                </c:pt>
                <c:pt idx="218">
                  <c:v>13.01</c:v>
                </c:pt>
                <c:pt idx="220">
                  <c:v>15.13</c:v>
                </c:pt>
                <c:pt idx="222">
                  <c:v>16.87</c:v>
                </c:pt>
                <c:pt idx="224">
                  <c:v>13.59</c:v>
                </c:pt>
                <c:pt idx="226">
                  <c:v>13.51</c:v>
                </c:pt>
                <c:pt idx="229">
                  <c:v>11.78</c:v>
                </c:pt>
                <c:pt idx="231">
                  <c:v>15.18</c:v>
                </c:pt>
                <c:pt idx="235">
                  <c:v>12.21</c:v>
                </c:pt>
                <c:pt idx="236">
                  <c:v>19.45</c:v>
                </c:pt>
                <c:pt idx="237">
                  <c:v>14.68</c:v>
                </c:pt>
                <c:pt idx="246">
                  <c:v>10.4</c:v>
                </c:pt>
                <c:pt idx="247">
                  <c:v>11.31</c:v>
                </c:pt>
                <c:pt idx="248">
                  <c:v>14.58</c:v>
                </c:pt>
                <c:pt idx="250">
                  <c:v>10.44</c:v>
                </c:pt>
                <c:pt idx="253">
                  <c:v>12.24</c:v>
                </c:pt>
                <c:pt idx="257">
                  <c:v>12.39</c:v>
                </c:pt>
                <c:pt idx="258">
                  <c:v>13.49</c:v>
                </c:pt>
                <c:pt idx="259">
                  <c:v>13.85</c:v>
                </c:pt>
                <c:pt idx="261">
                  <c:v>10.51</c:v>
                </c:pt>
                <c:pt idx="265">
                  <c:v>12.37</c:v>
                </c:pt>
                <c:pt idx="266">
                  <c:v>11.08</c:v>
                </c:pt>
                <c:pt idx="269">
                  <c:v>10.45</c:v>
                </c:pt>
                <c:pt idx="271">
                  <c:v>13.91</c:v>
                </c:pt>
                <c:pt idx="282">
                  <c:v>13.81</c:v>
                </c:pt>
                <c:pt idx="285">
                  <c:v>12.92</c:v>
                </c:pt>
                <c:pt idx="286">
                  <c:v>11.24</c:v>
                </c:pt>
                <c:pt idx="287">
                  <c:v>15.41</c:v>
                </c:pt>
                <c:pt idx="289">
                  <c:v>15.1</c:v>
                </c:pt>
                <c:pt idx="290">
                  <c:v>13.4</c:v>
                </c:pt>
                <c:pt idx="291">
                  <c:v>12.73</c:v>
                </c:pt>
                <c:pt idx="292">
                  <c:v>14.15</c:v>
                </c:pt>
                <c:pt idx="293">
                  <c:v>15.32</c:v>
                </c:pt>
                <c:pt idx="303">
                  <c:v>13.36</c:v>
                </c:pt>
                <c:pt idx="304">
                  <c:v>12.31</c:v>
                </c:pt>
                <c:pt idx="309">
                  <c:v>13.58</c:v>
                </c:pt>
                <c:pt idx="310">
                  <c:v>10.71</c:v>
                </c:pt>
                <c:pt idx="315">
                  <c:v>16.100000000000001</c:v>
                </c:pt>
                <c:pt idx="316">
                  <c:v>11.33</c:v>
                </c:pt>
                <c:pt idx="318">
                  <c:v>16.329999999999998</c:v>
                </c:pt>
                <c:pt idx="322">
                  <c:v>17.03</c:v>
                </c:pt>
                <c:pt idx="326">
                  <c:v>12.77</c:v>
                </c:pt>
                <c:pt idx="334">
                  <c:v>16.04</c:v>
                </c:pt>
                <c:pt idx="335">
                  <c:v>19.93</c:v>
                </c:pt>
                <c:pt idx="338">
                  <c:v>16.670000000000002</c:v>
                </c:pt>
                <c:pt idx="341">
                  <c:v>16.809999999999999</c:v>
                </c:pt>
                <c:pt idx="343">
                  <c:v>17.66</c:v>
                </c:pt>
                <c:pt idx="344">
                  <c:v>16.89</c:v>
                </c:pt>
                <c:pt idx="347">
                  <c:v>16.95</c:v>
                </c:pt>
                <c:pt idx="350">
                  <c:v>19</c:v>
                </c:pt>
                <c:pt idx="357">
                  <c:v>18.78</c:v>
                </c:pt>
                <c:pt idx="361">
                  <c:v>20.7</c:v>
                </c:pt>
                <c:pt idx="364">
                  <c:v>22.47</c:v>
                </c:pt>
                <c:pt idx="368">
                  <c:v>23.89</c:v>
                </c:pt>
                <c:pt idx="369">
                  <c:v>22.5</c:v>
                </c:pt>
                <c:pt idx="376">
                  <c:v>22.42</c:v>
                </c:pt>
                <c:pt idx="378">
                  <c:v>27.74</c:v>
                </c:pt>
                <c:pt idx="381">
                  <c:v>22.58</c:v>
                </c:pt>
                <c:pt idx="382">
                  <c:v>21.34</c:v>
                </c:pt>
                <c:pt idx="395">
                  <c:v>24.29</c:v>
                </c:pt>
                <c:pt idx="398">
                  <c:v>23.24</c:v>
                </c:pt>
                <c:pt idx="399">
                  <c:v>20.149999999999999</c:v>
                </c:pt>
                <c:pt idx="400">
                  <c:v>18.37</c:v>
                </c:pt>
                <c:pt idx="402">
                  <c:v>18.7</c:v>
                </c:pt>
                <c:pt idx="412">
                  <c:v>26.61</c:v>
                </c:pt>
                <c:pt idx="414">
                  <c:v>20.66</c:v>
                </c:pt>
                <c:pt idx="416">
                  <c:v>20.190000000000001</c:v>
                </c:pt>
                <c:pt idx="417">
                  <c:v>20.9</c:v>
                </c:pt>
                <c:pt idx="418">
                  <c:v>20.239999999999998</c:v>
                </c:pt>
                <c:pt idx="420">
                  <c:v>19</c:v>
                </c:pt>
                <c:pt idx="421">
                  <c:v>21.87</c:v>
                </c:pt>
                <c:pt idx="422">
                  <c:v>20.81</c:v>
                </c:pt>
                <c:pt idx="423">
                  <c:v>22.11</c:v>
                </c:pt>
                <c:pt idx="425">
                  <c:v>23.32</c:v>
                </c:pt>
                <c:pt idx="426">
                  <c:v>20.89</c:v>
                </c:pt>
                <c:pt idx="429">
                  <c:v>28.69</c:v>
                </c:pt>
                <c:pt idx="430">
                  <c:v>21.5</c:v>
                </c:pt>
                <c:pt idx="431">
                  <c:v>23.34</c:v>
                </c:pt>
                <c:pt idx="434">
                  <c:v>24.14</c:v>
                </c:pt>
                <c:pt idx="437">
                  <c:v>24.56</c:v>
                </c:pt>
                <c:pt idx="441">
                  <c:v>19.489999999999998</c:v>
                </c:pt>
                <c:pt idx="442">
                  <c:v>22.52</c:v>
                </c:pt>
                <c:pt idx="443">
                  <c:v>20.399999999999999</c:v>
                </c:pt>
                <c:pt idx="446">
                  <c:v>19.920000000000002</c:v>
                </c:pt>
                <c:pt idx="447">
                  <c:v>25.99</c:v>
                </c:pt>
                <c:pt idx="448">
                  <c:v>26.15</c:v>
                </c:pt>
                <c:pt idx="449">
                  <c:v>19.91</c:v>
                </c:pt>
                <c:pt idx="450">
                  <c:v>20.58</c:v>
                </c:pt>
                <c:pt idx="451">
                  <c:v>22.64</c:v>
                </c:pt>
                <c:pt idx="453">
                  <c:v>18.8</c:v>
                </c:pt>
                <c:pt idx="455">
                  <c:v>20.52</c:v>
                </c:pt>
                <c:pt idx="456">
                  <c:v>24.25</c:v>
                </c:pt>
                <c:pt idx="458">
                  <c:v>19.190000000000001</c:v>
                </c:pt>
                <c:pt idx="460">
                  <c:v>31.5</c:v>
                </c:pt>
                <c:pt idx="461">
                  <c:v>17.309999999999999</c:v>
                </c:pt>
                <c:pt idx="463">
                  <c:v>19.63</c:v>
                </c:pt>
                <c:pt idx="464">
                  <c:v>20.12</c:v>
                </c:pt>
                <c:pt idx="468">
                  <c:v>19.41</c:v>
                </c:pt>
                <c:pt idx="471">
                  <c:v>21.72</c:v>
                </c:pt>
                <c:pt idx="473">
                  <c:v>21.6</c:v>
                </c:pt>
                <c:pt idx="475">
                  <c:v>19.350000000000001</c:v>
                </c:pt>
                <c:pt idx="478">
                  <c:v>22.32</c:v>
                </c:pt>
                <c:pt idx="480">
                  <c:v>28.08</c:v>
                </c:pt>
                <c:pt idx="482">
                  <c:v>22.62</c:v>
                </c:pt>
                <c:pt idx="498">
                  <c:v>21</c:v>
                </c:pt>
                <c:pt idx="499">
                  <c:v>20.43</c:v>
                </c:pt>
                <c:pt idx="510">
                  <c:v>25.1</c:v>
                </c:pt>
                <c:pt idx="513">
                  <c:v>22.52</c:v>
                </c:pt>
                <c:pt idx="514">
                  <c:v>19.489999999999998</c:v>
                </c:pt>
                <c:pt idx="519">
                  <c:v>19.38</c:v>
                </c:pt>
                <c:pt idx="521">
                  <c:v>30.09</c:v>
                </c:pt>
                <c:pt idx="523">
                  <c:v>21.86</c:v>
                </c:pt>
                <c:pt idx="524">
                  <c:v>19.440000000000001</c:v>
                </c:pt>
                <c:pt idx="525">
                  <c:v>19.68</c:v>
                </c:pt>
                <c:pt idx="526">
                  <c:v>27.42</c:v>
                </c:pt>
                <c:pt idx="532">
                  <c:v>23.54</c:v>
                </c:pt>
                <c:pt idx="533">
                  <c:v>18.559999999999999</c:v>
                </c:pt>
                <c:pt idx="534">
                  <c:v>21.67</c:v>
                </c:pt>
                <c:pt idx="535">
                  <c:v>24.67</c:v>
                </c:pt>
                <c:pt idx="539">
                  <c:v>28.75</c:v>
                </c:pt>
                <c:pt idx="540">
                  <c:v>21.67</c:v>
                </c:pt>
                <c:pt idx="543">
                  <c:v>27.4</c:v>
                </c:pt>
                <c:pt idx="545">
                  <c:v>27.46</c:v>
                </c:pt>
                <c:pt idx="546">
                  <c:v>24.5</c:v>
                </c:pt>
                <c:pt idx="549">
                  <c:v>25.11</c:v>
                </c:pt>
                <c:pt idx="551">
                  <c:v>19.05</c:v>
                </c:pt>
                <c:pt idx="554">
                  <c:v>26.06</c:v>
                </c:pt>
                <c:pt idx="555">
                  <c:v>23.57</c:v>
                </c:pt>
                <c:pt idx="557">
                  <c:v>28.09</c:v>
                </c:pt>
                <c:pt idx="564">
                  <c:v>31.44</c:v>
                </c:pt>
                <c:pt idx="572">
                  <c:v>24.16</c:v>
                </c:pt>
                <c:pt idx="575">
                  <c:v>39.4</c:v>
                </c:pt>
                <c:pt idx="578">
                  <c:v>27.03</c:v>
                </c:pt>
                <c:pt idx="579">
                  <c:v>34.04</c:v>
                </c:pt>
                <c:pt idx="581">
                  <c:v>25.64</c:v>
                </c:pt>
                <c:pt idx="583">
                  <c:v>23.42</c:v>
                </c:pt>
                <c:pt idx="585">
                  <c:v>27.89</c:v>
                </c:pt>
                <c:pt idx="586">
                  <c:v>25.27</c:v>
                </c:pt>
                <c:pt idx="588">
                  <c:v>25.61</c:v>
                </c:pt>
                <c:pt idx="591">
                  <c:v>24.18</c:v>
                </c:pt>
                <c:pt idx="592">
                  <c:v>35.61</c:v>
                </c:pt>
                <c:pt idx="601">
                  <c:v>29.47</c:v>
                </c:pt>
                <c:pt idx="603">
                  <c:v>30.74</c:v>
                </c:pt>
                <c:pt idx="605">
                  <c:v>26.38</c:v>
                </c:pt>
                <c:pt idx="610">
                  <c:v>29.24</c:v>
                </c:pt>
                <c:pt idx="613">
                  <c:v>21.28</c:v>
                </c:pt>
                <c:pt idx="614">
                  <c:v>28.5</c:v>
                </c:pt>
                <c:pt idx="615">
                  <c:v>44.97</c:v>
                </c:pt>
                <c:pt idx="623">
                  <c:v>26.87</c:v>
                </c:pt>
                <c:pt idx="624">
                  <c:v>24.07</c:v>
                </c:pt>
                <c:pt idx="625">
                  <c:v>42.96</c:v>
                </c:pt>
                <c:pt idx="626">
                  <c:v>28.5</c:v>
                </c:pt>
                <c:pt idx="627">
                  <c:v>35.229999999999997</c:v>
                </c:pt>
                <c:pt idx="628">
                  <c:v>26.32</c:v>
                </c:pt>
                <c:pt idx="630">
                  <c:v>26.01</c:v>
                </c:pt>
                <c:pt idx="631">
                  <c:v>29.26</c:v>
                </c:pt>
                <c:pt idx="633">
                  <c:v>26.42</c:v>
                </c:pt>
                <c:pt idx="638">
                  <c:v>31.56</c:v>
                </c:pt>
                <c:pt idx="639">
                  <c:v>26.67</c:v>
                </c:pt>
                <c:pt idx="640">
                  <c:v>23.48</c:v>
                </c:pt>
                <c:pt idx="641">
                  <c:v>38.869999999999997</c:v>
                </c:pt>
                <c:pt idx="645">
                  <c:v>29.17</c:v>
                </c:pt>
                <c:pt idx="646">
                  <c:v>25.78</c:v>
                </c:pt>
                <c:pt idx="647">
                  <c:v>25.14</c:v>
                </c:pt>
                <c:pt idx="649">
                  <c:v>23.23</c:v>
                </c:pt>
                <c:pt idx="650">
                  <c:v>20.85</c:v>
                </c:pt>
                <c:pt idx="651">
                  <c:v>25.64</c:v>
                </c:pt>
                <c:pt idx="653">
                  <c:v>24.59</c:v>
                </c:pt>
                <c:pt idx="654">
                  <c:v>24.25</c:v>
                </c:pt>
                <c:pt idx="655">
                  <c:v>20.65</c:v>
                </c:pt>
                <c:pt idx="656">
                  <c:v>30.65</c:v>
                </c:pt>
                <c:pt idx="659">
                  <c:v>30.18</c:v>
                </c:pt>
                <c:pt idx="660">
                  <c:v>21.06</c:v>
                </c:pt>
                <c:pt idx="662">
                  <c:v>36.18</c:v>
                </c:pt>
                <c:pt idx="664">
                  <c:v>25.04</c:v>
                </c:pt>
                <c:pt idx="666">
                  <c:v>21.66</c:v>
                </c:pt>
                <c:pt idx="667">
                  <c:v>25.26</c:v>
                </c:pt>
                <c:pt idx="668">
                  <c:v>25</c:v>
                </c:pt>
                <c:pt idx="669">
                  <c:v>24.34</c:v>
                </c:pt>
                <c:pt idx="671">
                  <c:v>26.38</c:v>
                </c:pt>
                <c:pt idx="673">
                  <c:v>36.299999999999997</c:v>
                </c:pt>
                <c:pt idx="675">
                  <c:v>23.48</c:v>
                </c:pt>
                <c:pt idx="676">
                  <c:v>27.96</c:v>
                </c:pt>
                <c:pt idx="679">
                  <c:v>25.07</c:v>
                </c:pt>
                <c:pt idx="681">
                  <c:v>26.75</c:v>
                </c:pt>
                <c:pt idx="682">
                  <c:v>21.24</c:v>
                </c:pt>
                <c:pt idx="683">
                  <c:v>25.3</c:v>
                </c:pt>
                <c:pt idx="686">
                  <c:v>23.6</c:v>
                </c:pt>
                <c:pt idx="687">
                  <c:v>25.4</c:v>
                </c:pt>
                <c:pt idx="689">
                  <c:v>23.61</c:v>
                </c:pt>
                <c:pt idx="691">
                  <c:v>24.49</c:v>
                </c:pt>
                <c:pt idx="692">
                  <c:v>27.59</c:v>
                </c:pt>
                <c:pt idx="693">
                  <c:v>29.86</c:v>
                </c:pt>
                <c:pt idx="696">
                  <c:v>20.27</c:v>
                </c:pt>
                <c:pt idx="697">
                  <c:v>25.14</c:v>
                </c:pt>
                <c:pt idx="699">
                  <c:v>20</c:v>
                </c:pt>
                <c:pt idx="701">
                  <c:v>27.77</c:v>
                </c:pt>
                <c:pt idx="704">
                  <c:v>22.97</c:v>
                </c:pt>
                <c:pt idx="705">
                  <c:v>23.56</c:v>
                </c:pt>
                <c:pt idx="709">
                  <c:v>28.91</c:v>
                </c:pt>
                <c:pt idx="711">
                  <c:v>22.25</c:v>
                </c:pt>
                <c:pt idx="714">
                  <c:v>23.88</c:v>
                </c:pt>
                <c:pt idx="715">
                  <c:v>19.57</c:v>
                </c:pt>
                <c:pt idx="719">
                  <c:v>22.31</c:v>
                </c:pt>
                <c:pt idx="722">
                  <c:v>21.84</c:v>
                </c:pt>
                <c:pt idx="723">
                  <c:v>28.36</c:v>
                </c:pt>
                <c:pt idx="725">
                  <c:v>22.6</c:v>
                </c:pt>
                <c:pt idx="727">
                  <c:v>24.47</c:v>
                </c:pt>
                <c:pt idx="729">
                  <c:v>25.16</c:v>
                </c:pt>
                <c:pt idx="732">
                  <c:v>22.63</c:v>
                </c:pt>
                <c:pt idx="734">
                  <c:v>22.53</c:v>
                </c:pt>
                <c:pt idx="737">
                  <c:v>25.19</c:v>
                </c:pt>
                <c:pt idx="738">
                  <c:v>26.07</c:v>
                </c:pt>
                <c:pt idx="742">
                  <c:v>20.170000000000002</c:v>
                </c:pt>
                <c:pt idx="748">
                  <c:v>31.31</c:v>
                </c:pt>
                <c:pt idx="749">
                  <c:v>35.51</c:v>
                </c:pt>
                <c:pt idx="751">
                  <c:v>24.06</c:v>
                </c:pt>
                <c:pt idx="752">
                  <c:v>21.13</c:v>
                </c:pt>
                <c:pt idx="753">
                  <c:v>23.69</c:v>
                </c:pt>
                <c:pt idx="755">
                  <c:v>25.74</c:v>
                </c:pt>
                <c:pt idx="758">
                  <c:v>29.22</c:v>
                </c:pt>
                <c:pt idx="759">
                  <c:v>22.68</c:v>
                </c:pt>
                <c:pt idx="760">
                  <c:v>22.68</c:v>
                </c:pt>
                <c:pt idx="766">
                  <c:v>28.94</c:v>
                </c:pt>
                <c:pt idx="771">
                  <c:v>26.57</c:v>
                </c:pt>
                <c:pt idx="773">
                  <c:v>26.8</c:v>
                </c:pt>
                <c:pt idx="776">
                  <c:v>29.3</c:v>
                </c:pt>
                <c:pt idx="777">
                  <c:v>42.67</c:v>
                </c:pt>
                <c:pt idx="778">
                  <c:v>43.72</c:v>
                </c:pt>
                <c:pt idx="780">
                  <c:v>35.51</c:v>
                </c:pt>
                <c:pt idx="781">
                  <c:v>33.729999999999997</c:v>
                </c:pt>
                <c:pt idx="782">
                  <c:v>35.67</c:v>
                </c:pt>
                <c:pt idx="784">
                  <c:v>33.64</c:v>
                </c:pt>
                <c:pt idx="785">
                  <c:v>31.77</c:v>
                </c:pt>
                <c:pt idx="787">
                  <c:v>24.78</c:v>
                </c:pt>
                <c:pt idx="788">
                  <c:v>41.95</c:v>
                </c:pt>
                <c:pt idx="789">
                  <c:v>26.79</c:v>
                </c:pt>
                <c:pt idx="791">
                  <c:v>25.24</c:v>
                </c:pt>
                <c:pt idx="795">
                  <c:v>27.56</c:v>
                </c:pt>
                <c:pt idx="797">
                  <c:v>32.99</c:v>
                </c:pt>
                <c:pt idx="800">
                  <c:v>33.36</c:v>
                </c:pt>
                <c:pt idx="801">
                  <c:v>28.42</c:v>
                </c:pt>
                <c:pt idx="802">
                  <c:v>29.06</c:v>
                </c:pt>
                <c:pt idx="803">
                  <c:v>29.61</c:v>
                </c:pt>
                <c:pt idx="805" formatCode="General">
                  <c:v>31.32</c:v>
                </c:pt>
                <c:pt idx="806" formatCode="General">
                  <c:v>31.47</c:v>
                </c:pt>
                <c:pt idx="807" formatCode="General">
                  <c:v>29.19</c:v>
                </c:pt>
              </c:numCache>
            </c:numRef>
          </c:val>
          <c:smooth val="0"/>
          <c:extLst>
            <c:ext xmlns:c16="http://schemas.microsoft.com/office/drawing/2014/chart" uri="{C3380CC4-5D6E-409C-BE32-E72D297353CC}">
              <c16:uniqueId val="{00000000-81D3-431A-993B-57DBE2D7BD69}"/>
            </c:ext>
          </c:extLst>
        </c:ser>
        <c:dLbls>
          <c:showLegendKey val="0"/>
          <c:showVal val="0"/>
          <c:showCatName val="0"/>
          <c:showSerName val="0"/>
          <c:showPercent val="0"/>
          <c:showBubbleSize val="0"/>
        </c:dLbls>
        <c:smooth val="0"/>
        <c:axId val="2064610960"/>
        <c:axId val="1"/>
      </c:lineChart>
      <c:catAx>
        <c:axId val="2064610960"/>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4610960"/>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 Cows &amp; calves</a:t>
            </a:r>
          </a:p>
        </c:rich>
      </c:tx>
      <c:overlay val="0"/>
    </c:title>
    <c:autoTitleDeleted val="0"/>
    <c:plotArea>
      <c:layout/>
      <c:lineChart>
        <c:grouping val="standard"/>
        <c:varyColors val="0"/>
        <c:ser>
          <c:idx val="6"/>
          <c:order val="0"/>
          <c:tx>
            <c:strRef>
              <c:f>Summary!$O$3</c:f>
              <c:strCache>
                <c:ptCount val="1"/>
                <c:pt idx="0">
                  <c:v>Cows &amp; calves</c:v>
                </c:pt>
              </c:strCache>
            </c:strRef>
          </c:tx>
          <c:spPr>
            <a:ln w="12700">
              <a:solidFill>
                <a:schemeClr val="tx1"/>
              </a:solidFill>
            </a:ln>
          </c:spPr>
          <c:marker>
            <c:symbol val="none"/>
          </c:marker>
          <c:cat>
            <c:numRef>
              <c:f>Summary!$B$4:$B$821</c:f>
              <c:numCache>
                <c:formatCode>General</c:formatCode>
                <c:ptCount val="818"/>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O$4:$O$821</c:f>
              <c:numCache>
                <c:formatCode>0.00</c:formatCode>
                <c:ptCount val="818"/>
                <c:pt idx="0">
                  <c:v>11.47</c:v>
                </c:pt>
                <c:pt idx="1">
                  <c:v>13.05</c:v>
                </c:pt>
                <c:pt idx="2">
                  <c:v>12.07</c:v>
                </c:pt>
                <c:pt idx="3">
                  <c:v>12.79</c:v>
                </c:pt>
                <c:pt idx="4">
                  <c:v>10.69</c:v>
                </c:pt>
                <c:pt idx="5">
                  <c:v>11.81</c:v>
                </c:pt>
                <c:pt idx="6">
                  <c:v>11.34</c:v>
                </c:pt>
                <c:pt idx="7">
                  <c:v>10.88</c:v>
                </c:pt>
                <c:pt idx="8">
                  <c:v>12.45</c:v>
                </c:pt>
                <c:pt idx="9">
                  <c:v>10.81</c:v>
                </c:pt>
                <c:pt idx="10">
                  <c:v>11.08</c:v>
                </c:pt>
                <c:pt idx="11">
                  <c:v>10.82</c:v>
                </c:pt>
                <c:pt idx="12">
                  <c:v>11.4</c:v>
                </c:pt>
                <c:pt idx="13">
                  <c:v>11.84</c:v>
                </c:pt>
                <c:pt idx="14">
                  <c:v>12.65</c:v>
                </c:pt>
                <c:pt idx="15">
                  <c:v>11.2</c:v>
                </c:pt>
                <c:pt idx="16">
                  <c:v>11.21</c:v>
                </c:pt>
                <c:pt idx="17">
                  <c:v>11.72</c:v>
                </c:pt>
                <c:pt idx="18">
                  <c:v>10.75</c:v>
                </c:pt>
                <c:pt idx="19">
                  <c:v>11.87</c:v>
                </c:pt>
                <c:pt idx="20">
                  <c:v>10.91</c:v>
                </c:pt>
                <c:pt idx="21">
                  <c:v>11.12</c:v>
                </c:pt>
                <c:pt idx="22">
                  <c:v>11.69</c:v>
                </c:pt>
                <c:pt idx="23">
                  <c:v>11.07</c:v>
                </c:pt>
                <c:pt idx="24">
                  <c:v>10.91</c:v>
                </c:pt>
                <c:pt idx="25">
                  <c:v>10.45</c:v>
                </c:pt>
                <c:pt idx="26">
                  <c:v>12.26</c:v>
                </c:pt>
                <c:pt idx="27">
                  <c:v>11.49</c:v>
                </c:pt>
                <c:pt idx="28">
                  <c:v>12.04</c:v>
                </c:pt>
                <c:pt idx="29">
                  <c:v>10.77</c:v>
                </c:pt>
                <c:pt idx="30">
                  <c:v>11.77</c:v>
                </c:pt>
                <c:pt idx="31">
                  <c:v>12.19</c:v>
                </c:pt>
                <c:pt idx="32">
                  <c:v>12.01</c:v>
                </c:pt>
                <c:pt idx="33">
                  <c:v>12.29</c:v>
                </c:pt>
                <c:pt idx="34">
                  <c:v>13.04</c:v>
                </c:pt>
                <c:pt idx="35">
                  <c:v>12.04</c:v>
                </c:pt>
                <c:pt idx="36">
                  <c:v>11.06</c:v>
                </c:pt>
                <c:pt idx="37">
                  <c:v>12.04</c:v>
                </c:pt>
                <c:pt idx="38">
                  <c:v>12.51</c:v>
                </c:pt>
                <c:pt idx="39">
                  <c:v>11.78</c:v>
                </c:pt>
                <c:pt idx="40">
                  <c:v>12.02</c:v>
                </c:pt>
                <c:pt idx="41">
                  <c:v>12.47</c:v>
                </c:pt>
                <c:pt idx="42">
                  <c:v>12.37</c:v>
                </c:pt>
                <c:pt idx="43">
                  <c:v>13.37</c:v>
                </c:pt>
                <c:pt idx="44">
                  <c:v>12.77</c:v>
                </c:pt>
                <c:pt idx="45">
                  <c:v>13.1</c:v>
                </c:pt>
                <c:pt idx="46">
                  <c:v>14.89</c:v>
                </c:pt>
                <c:pt idx="47">
                  <c:v>15.63</c:v>
                </c:pt>
                <c:pt idx="48">
                  <c:v>14.12</c:v>
                </c:pt>
                <c:pt idx="49">
                  <c:v>13.88</c:v>
                </c:pt>
                <c:pt idx="50">
                  <c:v>13.26</c:v>
                </c:pt>
                <c:pt idx="51">
                  <c:v>9.2899999999999991</c:v>
                </c:pt>
                <c:pt idx="52">
                  <c:v>12.89</c:v>
                </c:pt>
                <c:pt idx="53">
                  <c:v>12.83</c:v>
                </c:pt>
                <c:pt idx="54">
                  <c:v>12.56</c:v>
                </c:pt>
                <c:pt idx="55">
                  <c:v>11.59</c:v>
                </c:pt>
                <c:pt idx="56">
                  <c:v>13.26</c:v>
                </c:pt>
                <c:pt idx="57">
                  <c:v>12.3</c:v>
                </c:pt>
                <c:pt idx="58">
                  <c:v>12.09</c:v>
                </c:pt>
                <c:pt idx="59">
                  <c:v>11.72</c:v>
                </c:pt>
                <c:pt idx="60">
                  <c:v>12.2</c:v>
                </c:pt>
                <c:pt idx="61">
                  <c:v>11.96</c:v>
                </c:pt>
                <c:pt idx="62">
                  <c:v>12.88</c:v>
                </c:pt>
                <c:pt idx="63">
                  <c:v>12.88</c:v>
                </c:pt>
                <c:pt idx="64">
                  <c:v>12.79</c:v>
                </c:pt>
                <c:pt idx="65">
                  <c:v>13.4</c:v>
                </c:pt>
                <c:pt idx="66">
                  <c:v>13.28</c:v>
                </c:pt>
                <c:pt idx="67">
                  <c:v>12.97</c:v>
                </c:pt>
                <c:pt idx="68">
                  <c:v>12.58</c:v>
                </c:pt>
                <c:pt idx="69">
                  <c:v>11.98</c:v>
                </c:pt>
                <c:pt idx="70">
                  <c:v>8.01</c:v>
                </c:pt>
                <c:pt idx="71">
                  <c:v>13.18</c:v>
                </c:pt>
                <c:pt idx="72">
                  <c:v>13.25</c:v>
                </c:pt>
                <c:pt idx="73">
                  <c:v>13.98</c:v>
                </c:pt>
                <c:pt idx="74">
                  <c:v>14.65</c:v>
                </c:pt>
                <c:pt idx="75">
                  <c:v>15.12</c:v>
                </c:pt>
                <c:pt idx="76">
                  <c:v>15.12</c:v>
                </c:pt>
                <c:pt idx="77">
                  <c:v>13.64</c:v>
                </c:pt>
                <c:pt idx="78">
                  <c:v>11.35</c:v>
                </c:pt>
                <c:pt idx="79">
                  <c:v>16.309999999999999</c:v>
                </c:pt>
                <c:pt idx="80">
                  <c:v>16.64</c:v>
                </c:pt>
                <c:pt idx="81">
                  <c:v>13.58</c:v>
                </c:pt>
                <c:pt idx="82">
                  <c:v>13.82</c:v>
                </c:pt>
                <c:pt idx="83">
                  <c:v>15.36</c:v>
                </c:pt>
                <c:pt idx="84">
                  <c:v>14.11</c:v>
                </c:pt>
                <c:pt idx="85">
                  <c:v>15.24</c:v>
                </c:pt>
                <c:pt idx="86">
                  <c:v>15.35</c:v>
                </c:pt>
                <c:pt idx="87">
                  <c:v>9.31</c:v>
                </c:pt>
                <c:pt idx="88">
                  <c:v>16.71</c:v>
                </c:pt>
                <c:pt idx="89">
                  <c:v>16.38</c:v>
                </c:pt>
                <c:pt idx="90">
                  <c:v>16.510000000000002</c:v>
                </c:pt>
                <c:pt idx="91">
                  <c:v>15.25</c:v>
                </c:pt>
                <c:pt idx="92">
                  <c:v>15.34</c:v>
                </c:pt>
                <c:pt idx="93">
                  <c:v>14.84</c:v>
                </c:pt>
                <c:pt idx="94">
                  <c:v>15.26</c:v>
                </c:pt>
                <c:pt idx="95">
                  <c:v>15.68</c:v>
                </c:pt>
                <c:pt idx="96">
                  <c:v>16.899999999999999</c:v>
                </c:pt>
                <c:pt idx="97">
                  <c:v>15.21</c:v>
                </c:pt>
                <c:pt idx="98">
                  <c:v>13.47</c:v>
                </c:pt>
                <c:pt idx="99">
                  <c:v>16.38</c:v>
                </c:pt>
                <c:pt idx="100">
                  <c:v>15.19</c:v>
                </c:pt>
                <c:pt idx="101">
                  <c:v>14.02</c:v>
                </c:pt>
                <c:pt idx="102">
                  <c:v>12.29</c:v>
                </c:pt>
                <c:pt idx="103">
                  <c:v>12.33</c:v>
                </c:pt>
                <c:pt idx="104">
                  <c:v>12.7</c:v>
                </c:pt>
                <c:pt idx="105">
                  <c:v>12.54</c:v>
                </c:pt>
                <c:pt idx="106">
                  <c:v>13.16</c:v>
                </c:pt>
                <c:pt idx="107">
                  <c:v>11.77</c:v>
                </c:pt>
                <c:pt idx="108">
                  <c:v>12.01</c:v>
                </c:pt>
                <c:pt idx="109">
                  <c:v>13.34</c:v>
                </c:pt>
                <c:pt idx="110">
                  <c:v>13.21</c:v>
                </c:pt>
                <c:pt idx="111">
                  <c:v>13.26</c:v>
                </c:pt>
                <c:pt idx="112">
                  <c:v>11.58</c:v>
                </c:pt>
                <c:pt idx="113">
                  <c:v>14.35</c:v>
                </c:pt>
                <c:pt idx="114">
                  <c:v>12.54</c:v>
                </c:pt>
                <c:pt idx="115">
                  <c:v>12.85</c:v>
                </c:pt>
                <c:pt idx="116">
                  <c:v>13.05</c:v>
                </c:pt>
                <c:pt idx="117">
                  <c:v>13.93</c:v>
                </c:pt>
                <c:pt idx="118">
                  <c:v>12.59</c:v>
                </c:pt>
                <c:pt idx="119">
                  <c:v>13.46</c:v>
                </c:pt>
                <c:pt idx="120">
                  <c:v>12.76</c:v>
                </c:pt>
                <c:pt idx="121">
                  <c:v>13.89</c:v>
                </c:pt>
                <c:pt idx="122">
                  <c:v>11.86</c:v>
                </c:pt>
                <c:pt idx="123">
                  <c:v>14.08</c:v>
                </c:pt>
                <c:pt idx="124">
                  <c:v>12.77</c:v>
                </c:pt>
                <c:pt idx="125">
                  <c:v>13.36</c:v>
                </c:pt>
                <c:pt idx="126">
                  <c:v>12.74</c:v>
                </c:pt>
                <c:pt idx="127">
                  <c:v>12.23</c:v>
                </c:pt>
                <c:pt idx="128">
                  <c:v>13.28</c:v>
                </c:pt>
                <c:pt idx="129">
                  <c:v>15.37</c:v>
                </c:pt>
                <c:pt idx="130">
                  <c:v>13.7</c:v>
                </c:pt>
                <c:pt idx="131">
                  <c:v>13.59</c:v>
                </c:pt>
                <c:pt idx="132">
                  <c:v>13.7</c:v>
                </c:pt>
                <c:pt idx="133">
                  <c:v>13</c:v>
                </c:pt>
                <c:pt idx="134">
                  <c:v>15.14</c:v>
                </c:pt>
                <c:pt idx="135">
                  <c:v>14.11</c:v>
                </c:pt>
                <c:pt idx="136">
                  <c:v>14.25</c:v>
                </c:pt>
                <c:pt idx="137">
                  <c:v>14.16</c:v>
                </c:pt>
                <c:pt idx="138">
                  <c:v>14.22</c:v>
                </c:pt>
                <c:pt idx="139">
                  <c:v>12.42</c:v>
                </c:pt>
                <c:pt idx="140">
                  <c:v>12.98</c:v>
                </c:pt>
                <c:pt idx="141">
                  <c:v>14.12</c:v>
                </c:pt>
                <c:pt idx="142">
                  <c:v>12.73</c:v>
                </c:pt>
                <c:pt idx="143">
                  <c:v>12.75</c:v>
                </c:pt>
                <c:pt idx="144">
                  <c:v>12.18</c:v>
                </c:pt>
                <c:pt idx="145">
                  <c:v>12.37</c:v>
                </c:pt>
                <c:pt idx="146">
                  <c:v>13.25</c:v>
                </c:pt>
                <c:pt idx="147">
                  <c:v>13.06</c:v>
                </c:pt>
                <c:pt idx="148">
                  <c:v>12.64</c:v>
                </c:pt>
                <c:pt idx="149">
                  <c:v>12.7</c:v>
                </c:pt>
                <c:pt idx="150">
                  <c:v>13.02</c:v>
                </c:pt>
                <c:pt idx="151">
                  <c:v>12.04</c:v>
                </c:pt>
                <c:pt idx="152">
                  <c:v>11.67</c:v>
                </c:pt>
                <c:pt idx="153">
                  <c:v>12.56</c:v>
                </c:pt>
                <c:pt idx="154">
                  <c:v>11.02</c:v>
                </c:pt>
                <c:pt idx="155">
                  <c:v>12.37</c:v>
                </c:pt>
                <c:pt idx="156">
                  <c:v>12.56</c:v>
                </c:pt>
                <c:pt idx="157">
                  <c:v>12.66</c:v>
                </c:pt>
                <c:pt idx="158">
                  <c:v>11.78</c:v>
                </c:pt>
                <c:pt idx="159">
                  <c:v>13.13</c:v>
                </c:pt>
                <c:pt idx="160">
                  <c:v>11.79</c:v>
                </c:pt>
                <c:pt idx="161">
                  <c:v>11.2</c:v>
                </c:pt>
                <c:pt idx="162">
                  <c:v>11.29</c:v>
                </c:pt>
                <c:pt idx="163">
                  <c:v>12.53</c:v>
                </c:pt>
                <c:pt idx="164">
                  <c:v>11.12</c:v>
                </c:pt>
                <c:pt idx="165">
                  <c:v>11.36</c:v>
                </c:pt>
                <c:pt idx="166">
                  <c:v>12.07</c:v>
                </c:pt>
                <c:pt idx="167">
                  <c:v>11.51</c:v>
                </c:pt>
                <c:pt idx="168">
                  <c:v>12.21</c:v>
                </c:pt>
                <c:pt idx="169">
                  <c:v>12.85</c:v>
                </c:pt>
                <c:pt idx="170">
                  <c:v>12.56</c:v>
                </c:pt>
                <c:pt idx="171">
                  <c:v>11.91</c:v>
                </c:pt>
                <c:pt idx="172">
                  <c:v>12.25</c:v>
                </c:pt>
                <c:pt idx="173">
                  <c:v>11.9</c:v>
                </c:pt>
                <c:pt idx="174">
                  <c:v>11.72</c:v>
                </c:pt>
                <c:pt idx="175">
                  <c:v>13.14</c:v>
                </c:pt>
                <c:pt idx="176">
                  <c:v>13.43</c:v>
                </c:pt>
                <c:pt idx="177">
                  <c:v>13.22</c:v>
                </c:pt>
                <c:pt idx="178">
                  <c:v>12.77</c:v>
                </c:pt>
                <c:pt idx="179">
                  <c:v>15.15</c:v>
                </c:pt>
                <c:pt idx="180">
                  <c:v>13.69</c:v>
                </c:pt>
                <c:pt idx="181">
                  <c:v>13.55</c:v>
                </c:pt>
                <c:pt idx="182">
                  <c:v>12.64</c:v>
                </c:pt>
                <c:pt idx="183">
                  <c:v>13.91</c:v>
                </c:pt>
                <c:pt idx="184">
                  <c:v>12.71</c:v>
                </c:pt>
                <c:pt idx="185">
                  <c:v>14.08</c:v>
                </c:pt>
                <c:pt idx="186">
                  <c:v>13.72</c:v>
                </c:pt>
                <c:pt idx="187">
                  <c:v>12.92</c:v>
                </c:pt>
                <c:pt idx="188">
                  <c:v>12.23</c:v>
                </c:pt>
                <c:pt idx="189">
                  <c:v>12.45</c:v>
                </c:pt>
                <c:pt idx="190">
                  <c:v>12.66</c:v>
                </c:pt>
                <c:pt idx="191">
                  <c:v>13.45</c:v>
                </c:pt>
                <c:pt idx="192">
                  <c:v>12.39</c:v>
                </c:pt>
                <c:pt idx="193">
                  <c:v>12.98</c:v>
                </c:pt>
                <c:pt idx="194">
                  <c:v>12.77</c:v>
                </c:pt>
                <c:pt idx="195">
                  <c:v>12.44</c:v>
                </c:pt>
                <c:pt idx="196">
                  <c:v>12.21</c:v>
                </c:pt>
                <c:pt idx="197">
                  <c:v>12.27</c:v>
                </c:pt>
                <c:pt idx="198">
                  <c:v>11.71</c:v>
                </c:pt>
                <c:pt idx="199">
                  <c:v>12.38</c:v>
                </c:pt>
                <c:pt idx="200">
                  <c:v>12.61</c:v>
                </c:pt>
                <c:pt idx="201">
                  <c:v>11.77</c:v>
                </c:pt>
                <c:pt idx="202">
                  <c:v>12.9</c:v>
                </c:pt>
                <c:pt idx="203">
                  <c:v>12.98</c:v>
                </c:pt>
                <c:pt idx="204">
                  <c:v>12.88</c:v>
                </c:pt>
                <c:pt idx="205">
                  <c:v>10.87</c:v>
                </c:pt>
                <c:pt idx="206">
                  <c:v>11.7</c:v>
                </c:pt>
                <c:pt idx="207">
                  <c:v>12.65</c:v>
                </c:pt>
                <c:pt idx="208">
                  <c:v>11.16</c:v>
                </c:pt>
                <c:pt idx="209">
                  <c:v>12.12</c:v>
                </c:pt>
                <c:pt idx="210">
                  <c:v>12.28</c:v>
                </c:pt>
                <c:pt idx="211">
                  <c:v>13.03</c:v>
                </c:pt>
                <c:pt idx="212">
                  <c:v>11.6</c:v>
                </c:pt>
                <c:pt idx="213">
                  <c:v>11.82</c:v>
                </c:pt>
                <c:pt idx="214">
                  <c:v>12.63</c:v>
                </c:pt>
                <c:pt idx="215">
                  <c:v>12.67</c:v>
                </c:pt>
                <c:pt idx="216">
                  <c:v>14.15</c:v>
                </c:pt>
                <c:pt idx="217">
                  <c:v>11.85</c:v>
                </c:pt>
                <c:pt idx="218">
                  <c:v>13.53</c:v>
                </c:pt>
                <c:pt idx="219">
                  <c:v>12.61</c:v>
                </c:pt>
                <c:pt idx="220">
                  <c:v>13.75</c:v>
                </c:pt>
                <c:pt idx="221">
                  <c:v>13.01</c:v>
                </c:pt>
                <c:pt idx="222">
                  <c:v>15.88</c:v>
                </c:pt>
                <c:pt idx="223">
                  <c:v>12.32</c:v>
                </c:pt>
                <c:pt idx="224">
                  <c:v>13.64</c:v>
                </c:pt>
                <c:pt idx="225">
                  <c:v>13.6</c:v>
                </c:pt>
                <c:pt idx="226">
                  <c:v>12.9</c:v>
                </c:pt>
                <c:pt idx="227">
                  <c:v>13.33</c:v>
                </c:pt>
                <c:pt idx="228">
                  <c:v>14.16</c:v>
                </c:pt>
                <c:pt idx="229">
                  <c:v>12.13</c:v>
                </c:pt>
                <c:pt idx="230">
                  <c:v>12.93</c:v>
                </c:pt>
                <c:pt idx="231">
                  <c:v>15.5</c:v>
                </c:pt>
                <c:pt idx="232">
                  <c:v>14.37</c:v>
                </c:pt>
                <c:pt idx="233">
                  <c:v>14.98</c:v>
                </c:pt>
                <c:pt idx="234">
                  <c:v>14.71</c:v>
                </c:pt>
                <c:pt idx="235">
                  <c:v>13.64</c:v>
                </c:pt>
                <c:pt idx="236">
                  <c:v>16.010000000000002</c:v>
                </c:pt>
                <c:pt idx="237">
                  <c:v>15.7</c:v>
                </c:pt>
                <c:pt idx="238">
                  <c:v>15.24</c:v>
                </c:pt>
                <c:pt idx="239">
                  <c:v>13.51</c:v>
                </c:pt>
                <c:pt idx="240">
                  <c:v>14.55</c:v>
                </c:pt>
                <c:pt idx="241">
                  <c:v>15.24</c:v>
                </c:pt>
                <c:pt idx="242">
                  <c:v>14.15</c:v>
                </c:pt>
                <c:pt idx="243">
                  <c:v>14.5</c:v>
                </c:pt>
                <c:pt idx="244">
                  <c:v>14.98</c:v>
                </c:pt>
                <c:pt idx="245">
                  <c:v>13.67</c:v>
                </c:pt>
                <c:pt idx="246">
                  <c:v>12.29</c:v>
                </c:pt>
                <c:pt idx="247">
                  <c:v>13.19</c:v>
                </c:pt>
                <c:pt idx="248">
                  <c:v>12.9</c:v>
                </c:pt>
                <c:pt idx="249">
                  <c:v>15.54</c:v>
                </c:pt>
                <c:pt idx="250">
                  <c:v>12.27</c:v>
                </c:pt>
                <c:pt idx="251">
                  <c:v>13.71</c:v>
                </c:pt>
                <c:pt idx="252">
                  <c:v>12.29</c:v>
                </c:pt>
                <c:pt idx="253">
                  <c:v>14.45</c:v>
                </c:pt>
                <c:pt idx="254">
                  <c:v>11.34</c:v>
                </c:pt>
                <c:pt idx="255">
                  <c:v>13.43</c:v>
                </c:pt>
                <c:pt idx="256">
                  <c:v>12.36</c:v>
                </c:pt>
                <c:pt idx="257">
                  <c:v>13.63</c:v>
                </c:pt>
                <c:pt idx="258">
                  <c:v>12.91</c:v>
                </c:pt>
                <c:pt idx="259">
                  <c:v>12.93</c:v>
                </c:pt>
                <c:pt idx="260">
                  <c:v>14.13</c:v>
                </c:pt>
                <c:pt idx="261">
                  <c:v>14.62</c:v>
                </c:pt>
                <c:pt idx="262">
                  <c:v>12.83</c:v>
                </c:pt>
                <c:pt idx="263">
                  <c:v>12.89</c:v>
                </c:pt>
                <c:pt idx="264">
                  <c:v>14.08</c:v>
                </c:pt>
                <c:pt idx="265">
                  <c:v>13.97</c:v>
                </c:pt>
                <c:pt idx="266">
                  <c:v>13.82</c:v>
                </c:pt>
                <c:pt idx="267">
                  <c:v>14.65</c:v>
                </c:pt>
                <c:pt idx="268">
                  <c:v>14.75</c:v>
                </c:pt>
                <c:pt idx="269">
                  <c:v>14.43</c:v>
                </c:pt>
                <c:pt idx="270">
                  <c:v>14.01</c:v>
                </c:pt>
                <c:pt idx="271">
                  <c:v>16.579999999999998</c:v>
                </c:pt>
                <c:pt idx="272">
                  <c:v>15.1</c:v>
                </c:pt>
                <c:pt idx="273">
                  <c:v>14.47</c:v>
                </c:pt>
                <c:pt idx="274">
                  <c:v>13.77</c:v>
                </c:pt>
                <c:pt idx="275">
                  <c:v>14.48</c:v>
                </c:pt>
                <c:pt idx="276">
                  <c:v>12.56</c:v>
                </c:pt>
                <c:pt idx="277">
                  <c:v>14.41</c:v>
                </c:pt>
                <c:pt idx="278">
                  <c:v>15.52</c:v>
                </c:pt>
                <c:pt idx="279">
                  <c:v>13.32</c:v>
                </c:pt>
                <c:pt idx="280">
                  <c:v>16.14</c:v>
                </c:pt>
                <c:pt idx="281">
                  <c:v>17.09</c:v>
                </c:pt>
                <c:pt idx="282">
                  <c:v>14.17</c:v>
                </c:pt>
                <c:pt idx="283">
                  <c:v>14.69</c:v>
                </c:pt>
                <c:pt idx="284">
                  <c:v>13.45</c:v>
                </c:pt>
                <c:pt idx="285">
                  <c:v>13.27</c:v>
                </c:pt>
                <c:pt idx="286">
                  <c:v>14.15</c:v>
                </c:pt>
                <c:pt idx="287">
                  <c:v>13.95</c:v>
                </c:pt>
                <c:pt idx="288">
                  <c:v>12.94</c:v>
                </c:pt>
                <c:pt idx="289">
                  <c:v>14.36</c:v>
                </c:pt>
                <c:pt idx="290">
                  <c:v>13.46</c:v>
                </c:pt>
                <c:pt idx="291">
                  <c:v>13.13</c:v>
                </c:pt>
                <c:pt idx="292">
                  <c:v>14.86</c:v>
                </c:pt>
                <c:pt idx="293">
                  <c:v>14.86</c:v>
                </c:pt>
                <c:pt idx="294">
                  <c:v>14.2</c:v>
                </c:pt>
                <c:pt idx="295">
                  <c:v>12.91</c:v>
                </c:pt>
                <c:pt idx="296">
                  <c:v>13.79</c:v>
                </c:pt>
                <c:pt idx="297">
                  <c:v>16.59</c:v>
                </c:pt>
                <c:pt idx="298">
                  <c:v>14.07</c:v>
                </c:pt>
                <c:pt idx="299">
                  <c:v>14.58</c:v>
                </c:pt>
                <c:pt idx="300">
                  <c:v>13.39</c:v>
                </c:pt>
                <c:pt idx="301">
                  <c:v>14.31</c:v>
                </c:pt>
                <c:pt idx="302">
                  <c:v>13.52</c:v>
                </c:pt>
                <c:pt idx="303">
                  <c:v>13.48</c:v>
                </c:pt>
                <c:pt idx="304">
                  <c:v>13.79</c:v>
                </c:pt>
                <c:pt idx="305">
                  <c:v>12.46</c:v>
                </c:pt>
                <c:pt idx="306">
                  <c:v>13.12</c:v>
                </c:pt>
                <c:pt idx="307">
                  <c:v>11.16</c:v>
                </c:pt>
                <c:pt idx="308">
                  <c:v>12.68</c:v>
                </c:pt>
                <c:pt idx="309">
                  <c:v>13.52</c:v>
                </c:pt>
                <c:pt idx="310">
                  <c:v>13.13</c:v>
                </c:pt>
                <c:pt idx="311">
                  <c:v>13.97</c:v>
                </c:pt>
                <c:pt idx="312">
                  <c:v>12.4</c:v>
                </c:pt>
                <c:pt idx="313">
                  <c:v>13.31</c:v>
                </c:pt>
                <c:pt idx="314">
                  <c:v>13.24</c:v>
                </c:pt>
                <c:pt idx="315">
                  <c:v>15.78</c:v>
                </c:pt>
                <c:pt idx="316">
                  <c:v>14.71</c:v>
                </c:pt>
                <c:pt idx="317">
                  <c:v>14.66</c:v>
                </c:pt>
                <c:pt idx="318">
                  <c:v>13.91</c:v>
                </c:pt>
                <c:pt idx="319">
                  <c:v>15.65</c:v>
                </c:pt>
                <c:pt idx="320">
                  <c:v>13.99</c:v>
                </c:pt>
                <c:pt idx="321">
                  <c:v>15.55</c:v>
                </c:pt>
                <c:pt idx="322">
                  <c:v>14.8</c:v>
                </c:pt>
                <c:pt idx="323">
                  <c:v>15.22</c:v>
                </c:pt>
                <c:pt idx="324">
                  <c:v>15.53</c:v>
                </c:pt>
                <c:pt idx="325">
                  <c:v>14.37</c:v>
                </c:pt>
                <c:pt idx="326">
                  <c:v>14.81</c:v>
                </c:pt>
                <c:pt idx="327">
                  <c:v>15.48</c:v>
                </c:pt>
                <c:pt idx="328">
                  <c:v>15.86</c:v>
                </c:pt>
                <c:pt idx="329">
                  <c:v>13.89</c:v>
                </c:pt>
                <c:pt idx="330">
                  <c:v>16.57</c:v>
                </c:pt>
                <c:pt idx="331">
                  <c:v>16.2</c:v>
                </c:pt>
                <c:pt idx="332">
                  <c:v>16.100000000000001</c:v>
                </c:pt>
                <c:pt idx="333">
                  <c:v>18.39</c:v>
                </c:pt>
                <c:pt idx="334">
                  <c:v>16.04</c:v>
                </c:pt>
                <c:pt idx="335">
                  <c:v>18.68</c:v>
                </c:pt>
                <c:pt idx="336">
                  <c:v>18.260000000000002</c:v>
                </c:pt>
                <c:pt idx="337">
                  <c:v>17.600000000000001</c:v>
                </c:pt>
                <c:pt idx="338">
                  <c:v>16.02</c:v>
                </c:pt>
                <c:pt idx="339">
                  <c:v>18.28</c:v>
                </c:pt>
                <c:pt idx="340">
                  <c:v>16.54</c:v>
                </c:pt>
                <c:pt idx="341">
                  <c:v>18.91</c:v>
                </c:pt>
                <c:pt idx="342">
                  <c:v>18.079999999999998</c:v>
                </c:pt>
                <c:pt idx="343">
                  <c:v>18.649999999999999</c:v>
                </c:pt>
                <c:pt idx="344">
                  <c:v>18.260000000000002</c:v>
                </c:pt>
                <c:pt idx="345">
                  <c:v>20.440000000000001</c:v>
                </c:pt>
                <c:pt idx="346">
                  <c:v>17.84</c:v>
                </c:pt>
                <c:pt idx="347">
                  <c:v>20.239999999999998</c:v>
                </c:pt>
                <c:pt idx="348">
                  <c:v>17.75</c:v>
                </c:pt>
                <c:pt idx="349">
                  <c:v>19.149999999999999</c:v>
                </c:pt>
                <c:pt idx="350">
                  <c:v>17.53</c:v>
                </c:pt>
                <c:pt idx="351">
                  <c:v>18.809999999999999</c:v>
                </c:pt>
                <c:pt idx="352">
                  <c:v>19.190000000000001</c:v>
                </c:pt>
                <c:pt idx="353">
                  <c:v>16.940000000000001</c:v>
                </c:pt>
                <c:pt idx="354">
                  <c:v>17.84</c:v>
                </c:pt>
                <c:pt idx="355">
                  <c:v>20.61</c:v>
                </c:pt>
                <c:pt idx="356">
                  <c:v>22.51</c:v>
                </c:pt>
                <c:pt idx="357">
                  <c:v>18.89</c:v>
                </c:pt>
                <c:pt idx="358">
                  <c:v>17.920000000000002</c:v>
                </c:pt>
                <c:pt idx="359">
                  <c:v>19.149999999999999</c:v>
                </c:pt>
                <c:pt idx="360">
                  <c:v>19.64</c:v>
                </c:pt>
                <c:pt idx="361">
                  <c:v>20.16</c:v>
                </c:pt>
                <c:pt idx="362">
                  <c:v>19.03</c:v>
                </c:pt>
                <c:pt idx="363">
                  <c:v>20.12</c:v>
                </c:pt>
                <c:pt idx="364">
                  <c:v>19.96</c:v>
                </c:pt>
                <c:pt idx="365">
                  <c:v>22.4</c:v>
                </c:pt>
                <c:pt idx="366">
                  <c:v>22.56</c:v>
                </c:pt>
                <c:pt idx="367">
                  <c:v>22.16</c:v>
                </c:pt>
                <c:pt idx="368">
                  <c:v>22.16</c:v>
                </c:pt>
                <c:pt idx="369">
                  <c:v>25.35</c:v>
                </c:pt>
                <c:pt idx="370">
                  <c:v>23.19</c:v>
                </c:pt>
                <c:pt idx="371">
                  <c:v>21.41</c:v>
                </c:pt>
                <c:pt idx="372">
                  <c:v>23.08</c:v>
                </c:pt>
                <c:pt idx="373">
                  <c:v>23.47</c:v>
                </c:pt>
                <c:pt idx="374">
                  <c:v>20.6</c:v>
                </c:pt>
                <c:pt idx="375">
                  <c:v>23.16</c:v>
                </c:pt>
                <c:pt idx="376">
                  <c:v>24.69</c:v>
                </c:pt>
                <c:pt idx="377">
                  <c:v>23.95</c:v>
                </c:pt>
                <c:pt idx="378">
                  <c:v>22.05</c:v>
                </c:pt>
                <c:pt idx="379">
                  <c:v>23.61</c:v>
                </c:pt>
                <c:pt idx="380">
                  <c:v>23.58</c:v>
                </c:pt>
                <c:pt idx="381">
                  <c:v>23.59</c:v>
                </c:pt>
                <c:pt idx="382">
                  <c:v>25.51</c:v>
                </c:pt>
                <c:pt idx="383">
                  <c:v>23.28</c:v>
                </c:pt>
                <c:pt idx="384">
                  <c:v>28.31</c:v>
                </c:pt>
                <c:pt idx="385">
                  <c:v>24.03</c:v>
                </c:pt>
                <c:pt idx="386">
                  <c:v>24.83</c:v>
                </c:pt>
                <c:pt idx="387">
                  <c:v>25.69</c:v>
                </c:pt>
                <c:pt idx="388">
                  <c:v>24.81</c:v>
                </c:pt>
                <c:pt idx="389">
                  <c:v>25.66</c:v>
                </c:pt>
                <c:pt idx="390">
                  <c:v>23.96</c:v>
                </c:pt>
                <c:pt idx="391">
                  <c:v>25.09</c:v>
                </c:pt>
                <c:pt idx="392">
                  <c:v>23.57</c:v>
                </c:pt>
                <c:pt idx="393">
                  <c:v>24.21</c:v>
                </c:pt>
                <c:pt idx="394">
                  <c:v>22.75</c:v>
                </c:pt>
                <c:pt idx="395">
                  <c:v>25.64</c:v>
                </c:pt>
                <c:pt idx="396">
                  <c:v>24.22</c:v>
                </c:pt>
                <c:pt idx="397">
                  <c:v>25.86</c:v>
                </c:pt>
                <c:pt idx="398">
                  <c:v>28.17</c:v>
                </c:pt>
                <c:pt idx="399">
                  <c:v>22.12</c:v>
                </c:pt>
                <c:pt idx="400">
                  <c:v>22.4</c:v>
                </c:pt>
                <c:pt idx="401">
                  <c:v>23.26</c:v>
                </c:pt>
                <c:pt idx="402">
                  <c:v>23.67</c:v>
                </c:pt>
                <c:pt idx="403">
                  <c:v>23.7</c:v>
                </c:pt>
                <c:pt idx="404">
                  <c:v>23.41</c:v>
                </c:pt>
                <c:pt idx="405">
                  <c:v>22.3</c:v>
                </c:pt>
                <c:pt idx="406">
                  <c:v>21.97</c:v>
                </c:pt>
                <c:pt idx="407">
                  <c:v>23.74</c:v>
                </c:pt>
                <c:pt idx="408">
                  <c:v>22.39</c:v>
                </c:pt>
                <c:pt idx="409">
                  <c:v>21.52</c:v>
                </c:pt>
                <c:pt idx="410">
                  <c:v>20.97</c:v>
                </c:pt>
                <c:pt idx="411">
                  <c:v>23.52</c:v>
                </c:pt>
                <c:pt idx="412">
                  <c:v>22.71</c:v>
                </c:pt>
                <c:pt idx="413">
                  <c:v>21.67</c:v>
                </c:pt>
                <c:pt idx="414">
                  <c:v>22.29</c:v>
                </c:pt>
                <c:pt idx="415">
                  <c:v>22.09</c:v>
                </c:pt>
                <c:pt idx="416">
                  <c:v>22.51</c:v>
                </c:pt>
                <c:pt idx="417">
                  <c:v>24.21</c:v>
                </c:pt>
                <c:pt idx="418">
                  <c:v>22.17</c:v>
                </c:pt>
                <c:pt idx="419">
                  <c:v>23.05</c:v>
                </c:pt>
                <c:pt idx="420">
                  <c:v>27.31</c:v>
                </c:pt>
                <c:pt idx="421">
                  <c:v>27.18</c:v>
                </c:pt>
                <c:pt idx="422">
                  <c:v>23.54</c:v>
                </c:pt>
                <c:pt idx="423">
                  <c:v>24.61</c:v>
                </c:pt>
                <c:pt idx="424">
                  <c:v>24.18</c:v>
                </c:pt>
                <c:pt idx="425">
                  <c:v>24.84</c:v>
                </c:pt>
                <c:pt idx="426">
                  <c:v>22.37</c:v>
                </c:pt>
                <c:pt idx="427">
                  <c:v>24.61</c:v>
                </c:pt>
                <c:pt idx="428">
                  <c:v>25.56</c:v>
                </c:pt>
                <c:pt idx="429">
                  <c:v>24.53</c:v>
                </c:pt>
                <c:pt idx="430">
                  <c:v>25.52</c:v>
                </c:pt>
                <c:pt idx="431">
                  <c:v>27.21</c:v>
                </c:pt>
                <c:pt idx="432">
                  <c:v>23.82</c:v>
                </c:pt>
                <c:pt idx="433">
                  <c:v>14.52</c:v>
                </c:pt>
                <c:pt idx="434">
                  <c:v>26.22</c:v>
                </c:pt>
                <c:pt idx="435">
                  <c:v>25.29</c:v>
                </c:pt>
                <c:pt idx="436">
                  <c:v>25.09</c:v>
                </c:pt>
                <c:pt idx="437">
                  <c:v>25.91</c:v>
                </c:pt>
                <c:pt idx="439">
                  <c:v>28.07</c:v>
                </c:pt>
                <c:pt idx="440">
                  <c:v>24.76</c:v>
                </c:pt>
                <c:pt idx="441">
                  <c:v>23.48</c:v>
                </c:pt>
                <c:pt idx="442">
                  <c:v>24.95</c:v>
                </c:pt>
                <c:pt idx="443">
                  <c:v>26</c:v>
                </c:pt>
                <c:pt idx="444">
                  <c:v>25.89</c:v>
                </c:pt>
                <c:pt idx="445">
                  <c:v>24.93</c:v>
                </c:pt>
                <c:pt idx="446">
                  <c:v>23.84</c:v>
                </c:pt>
                <c:pt idx="447">
                  <c:v>25.52</c:v>
                </c:pt>
                <c:pt idx="448">
                  <c:v>22.65</c:v>
                </c:pt>
                <c:pt idx="449">
                  <c:v>22.33</c:v>
                </c:pt>
                <c:pt idx="450">
                  <c:v>21.72</c:v>
                </c:pt>
                <c:pt idx="451">
                  <c:v>21.26</c:v>
                </c:pt>
                <c:pt idx="452">
                  <c:v>21.58</c:v>
                </c:pt>
                <c:pt idx="453">
                  <c:v>22.01</c:v>
                </c:pt>
                <c:pt idx="454">
                  <c:v>24.47</c:v>
                </c:pt>
                <c:pt idx="455">
                  <c:v>22.58</c:v>
                </c:pt>
                <c:pt idx="456">
                  <c:v>22.68</c:v>
                </c:pt>
                <c:pt idx="457">
                  <c:v>21.67</c:v>
                </c:pt>
                <c:pt idx="458">
                  <c:v>23.44</c:v>
                </c:pt>
                <c:pt idx="459">
                  <c:v>20.329999999999998</c:v>
                </c:pt>
                <c:pt idx="460">
                  <c:v>21.67</c:v>
                </c:pt>
                <c:pt idx="461">
                  <c:v>19.75</c:v>
                </c:pt>
                <c:pt idx="462">
                  <c:v>20.94</c:v>
                </c:pt>
                <c:pt idx="463">
                  <c:v>19.190000000000001</c:v>
                </c:pt>
                <c:pt idx="464">
                  <c:v>20.22</c:v>
                </c:pt>
                <c:pt idx="465">
                  <c:v>20.93</c:v>
                </c:pt>
                <c:pt idx="466">
                  <c:v>21.37</c:v>
                </c:pt>
                <c:pt idx="467">
                  <c:v>20.76</c:v>
                </c:pt>
                <c:pt idx="468">
                  <c:v>20.47</c:v>
                </c:pt>
                <c:pt idx="469">
                  <c:v>22.12</c:v>
                </c:pt>
                <c:pt idx="470">
                  <c:v>28.02</c:v>
                </c:pt>
                <c:pt idx="471">
                  <c:v>22.2</c:v>
                </c:pt>
                <c:pt idx="472">
                  <c:v>21.7</c:v>
                </c:pt>
                <c:pt idx="473">
                  <c:v>24.33</c:v>
                </c:pt>
                <c:pt idx="474">
                  <c:v>21.81</c:v>
                </c:pt>
                <c:pt idx="475">
                  <c:v>22.24</c:v>
                </c:pt>
                <c:pt idx="476">
                  <c:v>20.97</c:v>
                </c:pt>
                <c:pt idx="477">
                  <c:v>22.11</c:v>
                </c:pt>
                <c:pt idx="478">
                  <c:v>22.64</c:v>
                </c:pt>
                <c:pt idx="479">
                  <c:v>19.78</c:v>
                </c:pt>
                <c:pt idx="480">
                  <c:v>22.35</c:v>
                </c:pt>
                <c:pt idx="481">
                  <c:v>20.85</c:v>
                </c:pt>
                <c:pt idx="482">
                  <c:v>23.49</c:v>
                </c:pt>
                <c:pt idx="483">
                  <c:v>20.71</c:v>
                </c:pt>
                <c:pt idx="496">
                  <c:v>21.45</c:v>
                </c:pt>
                <c:pt idx="497">
                  <c:v>20.7</c:v>
                </c:pt>
                <c:pt idx="498">
                  <c:v>25.48</c:v>
                </c:pt>
                <c:pt idx="499">
                  <c:v>22.99</c:v>
                </c:pt>
                <c:pt idx="500">
                  <c:v>17.96</c:v>
                </c:pt>
                <c:pt idx="501">
                  <c:v>21.98</c:v>
                </c:pt>
                <c:pt idx="502">
                  <c:v>18.41</c:v>
                </c:pt>
                <c:pt idx="503">
                  <c:v>21.51</c:v>
                </c:pt>
                <c:pt idx="504">
                  <c:v>19.989999999999998</c:v>
                </c:pt>
                <c:pt idx="505">
                  <c:v>19.21</c:v>
                </c:pt>
                <c:pt idx="506">
                  <c:v>21.51</c:v>
                </c:pt>
                <c:pt idx="507">
                  <c:v>22.07</c:v>
                </c:pt>
                <c:pt idx="508">
                  <c:v>24.31</c:v>
                </c:pt>
                <c:pt idx="509">
                  <c:v>20.63</c:v>
                </c:pt>
                <c:pt idx="510">
                  <c:v>28.84</c:v>
                </c:pt>
                <c:pt idx="511">
                  <c:v>19.34</c:v>
                </c:pt>
                <c:pt idx="512">
                  <c:v>20.62</c:v>
                </c:pt>
                <c:pt idx="513">
                  <c:v>22.48</c:v>
                </c:pt>
                <c:pt idx="514">
                  <c:v>22.38</c:v>
                </c:pt>
                <c:pt idx="515">
                  <c:v>21.35</c:v>
                </c:pt>
                <c:pt idx="516">
                  <c:v>29.51</c:v>
                </c:pt>
                <c:pt idx="517">
                  <c:v>21.43</c:v>
                </c:pt>
                <c:pt idx="518">
                  <c:v>20.32</c:v>
                </c:pt>
                <c:pt idx="519">
                  <c:v>26.84</c:v>
                </c:pt>
                <c:pt idx="520">
                  <c:v>22.75</c:v>
                </c:pt>
                <c:pt idx="521">
                  <c:v>21.51</c:v>
                </c:pt>
                <c:pt idx="522">
                  <c:v>22.44</c:v>
                </c:pt>
                <c:pt idx="523">
                  <c:v>24.94</c:v>
                </c:pt>
                <c:pt idx="524">
                  <c:v>27.9</c:v>
                </c:pt>
                <c:pt idx="525">
                  <c:v>24.7</c:v>
                </c:pt>
                <c:pt idx="526">
                  <c:v>25.48</c:v>
                </c:pt>
                <c:pt idx="527">
                  <c:v>22.74</c:v>
                </c:pt>
                <c:pt idx="528">
                  <c:v>23.5</c:v>
                </c:pt>
                <c:pt idx="529">
                  <c:v>25.89</c:v>
                </c:pt>
                <c:pt idx="530">
                  <c:v>25.51</c:v>
                </c:pt>
                <c:pt idx="531">
                  <c:v>24.23</c:v>
                </c:pt>
                <c:pt idx="532">
                  <c:v>26.5</c:v>
                </c:pt>
                <c:pt idx="533">
                  <c:v>25.9</c:v>
                </c:pt>
                <c:pt idx="534">
                  <c:v>24.99</c:v>
                </c:pt>
                <c:pt idx="535">
                  <c:v>25.56</c:v>
                </c:pt>
                <c:pt idx="536">
                  <c:v>28.5</c:v>
                </c:pt>
                <c:pt idx="537">
                  <c:v>24.98</c:v>
                </c:pt>
                <c:pt idx="538">
                  <c:v>27.06</c:v>
                </c:pt>
                <c:pt idx="539">
                  <c:v>27.42</c:v>
                </c:pt>
                <c:pt idx="540">
                  <c:v>27.31</c:v>
                </c:pt>
                <c:pt idx="541">
                  <c:v>25.47</c:v>
                </c:pt>
                <c:pt idx="542">
                  <c:v>26.72</c:v>
                </c:pt>
                <c:pt idx="543">
                  <c:v>31.32</c:v>
                </c:pt>
                <c:pt idx="544">
                  <c:v>25.61</c:v>
                </c:pt>
                <c:pt idx="545">
                  <c:v>28.25</c:v>
                </c:pt>
                <c:pt idx="546">
                  <c:v>25.44</c:v>
                </c:pt>
                <c:pt idx="547">
                  <c:v>27.59</c:v>
                </c:pt>
                <c:pt idx="548">
                  <c:v>30.01</c:v>
                </c:pt>
                <c:pt idx="549">
                  <c:v>25.77</c:v>
                </c:pt>
                <c:pt idx="550">
                  <c:v>26.26</c:v>
                </c:pt>
                <c:pt idx="551">
                  <c:v>24.29</c:v>
                </c:pt>
                <c:pt idx="552">
                  <c:v>25.53</c:v>
                </c:pt>
                <c:pt idx="553">
                  <c:v>22.85</c:v>
                </c:pt>
                <c:pt idx="554">
                  <c:v>25.14</c:v>
                </c:pt>
                <c:pt idx="555">
                  <c:v>25.33</c:v>
                </c:pt>
                <c:pt idx="556">
                  <c:v>30.34</c:v>
                </c:pt>
                <c:pt idx="557">
                  <c:v>26.06</c:v>
                </c:pt>
                <c:pt idx="558">
                  <c:v>24.65</c:v>
                </c:pt>
                <c:pt idx="559">
                  <c:v>22.98</c:v>
                </c:pt>
                <c:pt idx="560">
                  <c:v>25.34</c:v>
                </c:pt>
                <c:pt idx="563">
                  <c:v>25.49</c:v>
                </c:pt>
                <c:pt idx="564">
                  <c:v>23.46</c:v>
                </c:pt>
                <c:pt idx="565">
                  <c:v>28.33</c:v>
                </c:pt>
                <c:pt idx="566">
                  <c:v>29.92</c:v>
                </c:pt>
                <c:pt idx="567">
                  <c:v>25.6</c:v>
                </c:pt>
                <c:pt idx="568">
                  <c:v>25.21</c:v>
                </c:pt>
                <c:pt idx="569">
                  <c:v>27.73</c:v>
                </c:pt>
                <c:pt idx="570">
                  <c:v>27.61</c:v>
                </c:pt>
                <c:pt idx="571">
                  <c:v>28.87</c:v>
                </c:pt>
                <c:pt idx="572">
                  <c:v>28.02</c:v>
                </c:pt>
                <c:pt idx="573">
                  <c:v>27.8</c:v>
                </c:pt>
                <c:pt idx="574">
                  <c:v>24.31</c:v>
                </c:pt>
                <c:pt idx="575">
                  <c:v>31.94</c:v>
                </c:pt>
                <c:pt idx="576">
                  <c:v>35.9</c:v>
                </c:pt>
                <c:pt idx="577">
                  <c:v>28.46</c:v>
                </c:pt>
                <c:pt idx="578">
                  <c:v>28.67</c:v>
                </c:pt>
                <c:pt idx="579">
                  <c:v>31.51</c:v>
                </c:pt>
                <c:pt idx="580">
                  <c:v>27.31</c:v>
                </c:pt>
                <c:pt idx="581">
                  <c:v>29.77</c:v>
                </c:pt>
                <c:pt idx="582">
                  <c:v>28.35</c:v>
                </c:pt>
                <c:pt idx="583">
                  <c:v>28.06</c:v>
                </c:pt>
                <c:pt idx="584">
                  <c:v>30.47</c:v>
                </c:pt>
                <c:pt idx="585">
                  <c:v>28.19</c:v>
                </c:pt>
                <c:pt idx="586">
                  <c:v>31.79</c:v>
                </c:pt>
                <c:pt idx="587">
                  <c:v>34.26</c:v>
                </c:pt>
                <c:pt idx="588">
                  <c:v>30.35</c:v>
                </c:pt>
                <c:pt idx="589">
                  <c:v>28.72</c:v>
                </c:pt>
                <c:pt idx="590">
                  <c:v>28.86</c:v>
                </c:pt>
                <c:pt idx="591">
                  <c:v>28.87</c:v>
                </c:pt>
                <c:pt idx="592">
                  <c:v>29.66</c:v>
                </c:pt>
                <c:pt idx="593">
                  <c:v>26.89</c:v>
                </c:pt>
                <c:pt idx="594">
                  <c:v>26.51</c:v>
                </c:pt>
                <c:pt idx="595">
                  <c:v>26.54</c:v>
                </c:pt>
                <c:pt idx="596">
                  <c:v>32.57</c:v>
                </c:pt>
                <c:pt idx="597">
                  <c:v>28.16</c:v>
                </c:pt>
                <c:pt idx="598">
                  <c:v>25.37</c:v>
                </c:pt>
                <c:pt idx="599">
                  <c:v>24.12</c:v>
                </c:pt>
                <c:pt idx="600">
                  <c:v>27.82</c:v>
                </c:pt>
                <c:pt idx="601">
                  <c:v>27.84</c:v>
                </c:pt>
                <c:pt idx="602">
                  <c:v>25.61</c:v>
                </c:pt>
                <c:pt idx="603">
                  <c:v>26.67</c:v>
                </c:pt>
                <c:pt idx="604">
                  <c:v>31.81</c:v>
                </c:pt>
                <c:pt idx="605">
                  <c:v>24.29</c:v>
                </c:pt>
                <c:pt idx="606">
                  <c:v>26.72</c:v>
                </c:pt>
                <c:pt idx="607">
                  <c:v>26.62</c:v>
                </c:pt>
                <c:pt idx="608">
                  <c:v>25.63</c:v>
                </c:pt>
                <c:pt idx="609">
                  <c:v>25.79</c:v>
                </c:pt>
                <c:pt idx="610">
                  <c:v>28.83</c:v>
                </c:pt>
                <c:pt idx="611">
                  <c:v>26.58</c:v>
                </c:pt>
                <c:pt idx="612">
                  <c:v>25.56</c:v>
                </c:pt>
                <c:pt idx="613">
                  <c:v>27.63</c:v>
                </c:pt>
                <c:pt idx="614">
                  <c:v>31.95</c:v>
                </c:pt>
                <c:pt idx="615">
                  <c:v>25.63</c:v>
                </c:pt>
                <c:pt idx="620">
                  <c:v>27.55</c:v>
                </c:pt>
                <c:pt idx="621">
                  <c:v>30.54</c:v>
                </c:pt>
                <c:pt idx="622">
                  <c:v>29.77</c:v>
                </c:pt>
                <c:pt idx="623">
                  <c:v>27.55</c:v>
                </c:pt>
                <c:pt idx="624">
                  <c:v>30.29</c:v>
                </c:pt>
                <c:pt idx="625">
                  <c:v>29.83</c:v>
                </c:pt>
                <c:pt idx="626">
                  <c:v>27.92</c:v>
                </c:pt>
                <c:pt idx="627">
                  <c:v>43.51</c:v>
                </c:pt>
                <c:pt idx="628">
                  <c:v>29.83</c:v>
                </c:pt>
                <c:pt idx="629">
                  <c:v>29.75</c:v>
                </c:pt>
                <c:pt idx="630">
                  <c:v>29.62</c:v>
                </c:pt>
                <c:pt idx="631">
                  <c:v>29.67</c:v>
                </c:pt>
                <c:pt idx="633">
                  <c:v>28.44</c:v>
                </c:pt>
                <c:pt idx="634">
                  <c:v>28.86</c:v>
                </c:pt>
                <c:pt idx="635">
                  <c:v>27.76</c:v>
                </c:pt>
                <c:pt idx="636">
                  <c:v>26.33</c:v>
                </c:pt>
                <c:pt idx="637">
                  <c:v>26.96</c:v>
                </c:pt>
                <c:pt idx="638">
                  <c:v>31.58</c:v>
                </c:pt>
                <c:pt idx="639">
                  <c:v>26.53</c:v>
                </c:pt>
                <c:pt idx="640">
                  <c:v>22.75</c:v>
                </c:pt>
                <c:pt idx="641">
                  <c:v>26.82</c:v>
                </c:pt>
                <c:pt idx="642">
                  <c:v>25.73</c:v>
                </c:pt>
                <c:pt idx="643">
                  <c:v>27.85</c:v>
                </c:pt>
                <c:pt idx="644">
                  <c:v>24.27</c:v>
                </c:pt>
                <c:pt idx="645">
                  <c:v>24.95</c:v>
                </c:pt>
                <c:pt idx="646">
                  <c:v>22.55</c:v>
                </c:pt>
                <c:pt idx="647">
                  <c:v>26.67</c:v>
                </c:pt>
                <c:pt idx="648">
                  <c:v>26.82</c:v>
                </c:pt>
                <c:pt idx="649">
                  <c:v>23.86</c:v>
                </c:pt>
                <c:pt idx="650">
                  <c:v>22.83</c:v>
                </c:pt>
                <c:pt idx="651">
                  <c:v>22.48</c:v>
                </c:pt>
                <c:pt idx="652">
                  <c:v>23.43</c:v>
                </c:pt>
                <c:pt idx="653">
                  <c:v>24.67</c:v>
                </c:pt>
                <c:pt idx="654">
                  <c:v>22.7</c:v>
                </c:pt>
                <c:pt idx="655">
                  <c:v>24.55</c:v>
                </c:pt>
                <c:pt idx="656">
                  <c:v>23.18</c:v>
                </c:pt>
                <c:pt idx="657">
                  <c:v>25.08</c:v>
                </c:pt>
                <c:pt idx="658">
                  <c:v>23.63</c:v>
                </c:pt>
                <c:pt idx="659">
                  <c:v>26.41</c:v>
                </c:pt>
                <c:pt idx="660">
                  <c:v>24.06</c:v>
                </c:pt>
                <c:pt idx="661">
                  <c:v>24.49</c:v>
                </c:pt>
                <c:pt idx="662">
                  <c:v>23.39</c:v>
                </c:pt>
                <c:pt idx="663">
                  <c:v>24.62</c:v>
                </c:pt>
                <c:pt idx="664">
                  <c:v>27.92</c:v>
                </c:pt>
                <c:pt idx="665">
                  <c:v>24.2</c:v>
                </c:pt>
                <c:pt idx="666">
                  <c:v>24.84</c:v>
                </c:pt>
                <c:pt idx="667">
                  <c:v>25.69</c:v>
                </c:pt>
                <c:pt idx="668">
                  <c:v>28.56</c:v>
                </c:pt>
                <c:pt idx="669">
                  <c:v>25.74</c:v>
                </c:pt>
                <c:pt idx="670">
                  <c:v>29.75</c:v>
                </c:pt>
                <c:pt idx="671">
                  <c:v>26.62</c:v>
                </c:pt>
                <c:pt idx="672">
                  <c:v>25.11</c:v>
                </c:pt>
                <c:pt idx="673">
                  <c:v>23.49</c:v>
                </c:pt>
                <c:pt idx="674">
                  <c:v>26.2</c:v>
                </c:pt>
                <c:pt idx="675">
                  <c:v>30.26</c:v>
                </c:pt>
                <c:pt idx="676">
                  <c:v>23.36</c:v>
                </c:pt>
                <c:pt idx="677">
                  <c:v>26.27</c:v>
                </c:pt>
                <c:pt idx="678">
                  <c:v>25.78</c:v>
                </c:pt>
                <c:pt idx="679">
                  <c:v>28.4</c:v>
                </c:pt>
                <c:pt idx="680">
                  <c:v>24.18</c:v>
                </c:pt>
                <c:pt idx="681">
                  <c:v>25.65</c:v>
                </c:pt>
                <c:pt idx="682">
                  <c:v>24.07</c:v>
                </c:pt>
                <c:pt idx="683">
                  <c:v>25.73</c:v>
                </c:pt>
                <c:pt idx="684">
                  <c:v>25.24</c:v>
                </c:pt>
                <c:pt idx="685">
                  <c:v>26.49</c:v>
                </c:pt>
                <c:pt idx="686">
                  <c:v>24.19</c:v>
                </c:pt>
                <c:pt idx="687">
                  <c:v>26.51</c:v>
                </c:pt>
                <c:pt idx="688">
                  <c:v>24.4</c:v>
                </c:pt>
                <c:pt idx="689">
                  <c:v>27.67</c:v>
                </c:pt>
                <c:pt idx="690">
                  <c:v>24.14</c:v>
                </c:pt>
                <c:pt idx="691">
                  <c:v>26.53</c:v>
                </c:pt>
                <c:pt idx="692">
                  <c:v>24.93</c:v>
                </c:pt>
                <c:pt idx="693">
                  <c:v>23.71</c:v>
                </c:pt>
                <c:pt idx="694">
                  <c:v>20.71</c:v>
                </c:pt>
                <c:pt idx="695">
                  <c:v>20.260000000000002</c:v>
                </c:pt>
                <c:pt idx="696">
                  <c:v>18.87</c:v>
                </c:pt>
                <c:pt idx="697">
                  <c:v>21.43</c:v>
                </c:pt>
                <c:pt idx="698">
                  <c:v>21.41</c:v>
                </c:pt>
                <c:pt idx="699">
                  <c:v>20.260000000000002</c:v>
                </c:pt>
                <c:pt idx="700">
                  <c:v>23.78</c:v>
                </c:pt>
                <c:pt idx="701">
                  <c:v>22.63</c:v>
                </c:pt>
                <c:pt idx="702">
                  <c:v>22.48</c:v>
                </c:pt>
                <c:pt idx="703">
                  <c:v>22.18</c:v>
                </c:pt>
                <c:pt idx="704">
                  <c:v>22.92</c:v>
                </c:pt>
                <c:pt idx="705">
                  <c:v>20.37</c:v>
                </c:pt>
                <c:pt idx="706">
                  <c:v>22.13</c:v>
                </c:pt>
                <c:pt idx="707">
                  <c:v>21.12</c:v>
                </c:pt>
                <c:pt idx="708">
                  <c:v>24.1</c:v>
                </c:pt>
                <c:pt idx="709">
                  <c:v>23.37</c:v>
                </c:pt>
                <c:pt idx="710">
                  <c:v>24.52</c:v>
                </c:pt>
                <c:pt idx="711">
                  <c:v>25.68</c:v>
                </c:pt>
                <c:pt idx="712">
                  <c:v>23.44</c:v>
                </c:pt>
                <c:pt idx="713">
                  <c:v>22.14</c:v>
                </c:pt>
                <c:pt idx="714">
                  <c:v>26.62</c:v>
                </c:pt>
                <c:pt idx="715">
                  <c:v>24.44</c:v>
                </c:pt>
                <c:pt idx="716">
                  <c:v>22.55</c:v>
                </c:pt>
                <c:pt idx="717">
                  <c:v>25.1</c:v>
                </c:pt>
                <c:pt idx="718">
                  <c:v>23.54</c:v>
                </c:pt>
                <c:pt idx="719">
                  <c:v>22.14</c:v>
                </c:pt>
                <c:pt idx="720">
                  <c:v>23.39</c:v>
                </c:pt>
                <c:pt idx="721">
                  <c:v>21.81</c:v>
                </c:pt>
                <c:pt idx="722">
                  <c:v>23.46</c:v>
                </c:pt>
                <c:pt idx="723">
                  <c:v>25.75</c:v>
                </c:pt>
                <c:pt idx="724">
                  <c:v>22.74</c:v>
                </c:pt>
                <c:pt idx="725">
                  <c:v>22.19</c:v>
                </c:pt>
                <c:pt idx="726">
                  <c:v>26.47</c:v>
                </c:pt>
                <c:pt idx="727">
                  <c:v>25.98</c:v>
                </c:pt>
                <c:pt idx="728">
                  <c:v>24.97</c:v>
                </c:pt>
                <c:pt idx="729">
                  <c:v>25.4</c:v>
                </c:pt>
                <c:pt idx="730">
                  <c:v>25.53</c:v>
                </c:pt>
                <c:pt idx="731">
                  <c:v>26.09</c:v>
                </c:pt>
                <c:pt idx="732">
                  <c:v>26.91</c:v>
                </c:pt>
                <c:pt idx="733">
                  <c:v>24.69</c:v>
                </c:pt>
                <c:pt idx="734">
                  <c:v>24.52</c:v>
                </c:pt>
                <c:pt idx="735">
                  <c:v>26.29</c:v>
                </c:pt>
                <c:pt idx="736">
                  <c:v>32.869999999999997</c:v>
                </c:pt>
                <c:pt idx="737">
                  <c:v>26.42</c:v>
                </c:pt>
                <c:pt idx="738">
                  <c:v>30.19</c:v>
                </c:pt>
                <c:pt idx="739">
                  <c:v>24.58</c:v>
                </c:pt>
                <c:pt idx="740">
                  <c:v>24.47</c:v>
                </c:pt>
                <c:pt idx="741">
                  <c:v>24.76</c:v>
                </c:pt>
                <c:pt idx="743">
                  <c:v>22.72</c:v>
                </c:pt>
                <c:pt idx="744">
                  <c:v>21.63</c:v>
                </c:pt>
                <c:pt idx="745">
                  <c:v>23.62</c:v>
                </c:pt>
                <c:pt idx="747">
                  <c:v>24.32</c:v>
                </c:pt>
                <c:pt idx="748">
                  <c:v>24.09</c:v>
                </c:pt>
                <c:pt idx="749">
                  <c:v>24.74</c:v>
                </c:pt>
                <c:pt idx="750">
                  <c:v>24.71</c:v>
                </c:pt>
                <c:pt idx="751">
                  <c:v>25.79</c:v>
                </c:pt>
                <c:pt idx="752">
                  <c:v>24.4</c:v>
                </c:pt>
                <c:pt idx="753">
                  <c:v>24.25</c:v>
                </c:pt>
                <c:pt idx="754">
                  <c:v>25.64</c:v>
                </c:pt>
                <c:pt idx="755">
                  <c:v>28.18</c:v>
                </c:pt>
                <c:pt idx="756">
                  <c:v>27.23</c:v>
                </c:pt>
                <c:pt idx="757">
                  <c:v>25.4</c:v>
                </c:pt>
                <c:pt idx="758">
                  <c:v>24.79</c:v>
                </c:pt>
                <c:pt idx="759">
                  <c:v>23.91</c:v>
                </c:pt>
                <c:pt idx="760">
                  <c:v>28.33</c:v>
                </c:pt>
                <c:pt idx="761">
                  <c:v>24.8</c:v>
                </c:pt>
                <c:pt idx="762">
                  <c:v>27.12</c:v>
                </c:pt>
                <c:pt idx="763">
                  <c:v>26.71</c:v>
                </c:pt>
                <c:pt idx="764">
                  <c:v>27.6</c:v>
                </c:pt>
                <c:pt idx="765">
                  <c:v>28.71</c:v>
                </c:pt>
                <c:pt idx="766">
                  <c:v>27.52</c:v>
                </c:pt>
                <c:pt idx="767">
                  <c:v>26.78</c:v>
                </c:pt>
                <c:pt idx="768">
                  <c:v>28.89</c:v>
                </c:pt>
                <c:pt idx="769">
                  <c:v>33.92</c:v>
                </c:pt>
                <c:pt idx="770">
                  <c:v>31.25</c:v>
                </c:pt>
                <c:pt idx="771">
                  <c:v>29.12</c:v>
                </c:pt>
                <c:pt idx="773">
                  <c:v>28.84</c:v>
                </c:pt>
                <c:pt idx="774">
                  <c:v>29.55</c:v>
                </c:pt>
                <c:pt idx="775">
                  <c:v>35.369999999999997</c:v>
                </c:pt>
                <c:pt idx="776">
                  <c:v>31.37</c:v>
                </c:pt>
                <c:pt idx="777">
                  <c:v>32.799999999999997</c:v>
                </c:pt>
                <c:pt idx="778">
                  <c:v>31.44</c:v>
                </c:pt>
                <c:pt idx="779">
                  <c:v>29.46</c:v>
                </c:pt>
                <c:pt idx="780">
                  <c:v>30.85</c:v>
                </c:pt>
                <c:pt idx="781">
                  <c:v>31.09</c:v>
                </c:pt>
                <c:pt idx="782">
                  <c:v>30.77</c:v>
                </c:pt>
                <c:pt idx="783">
                  <c:v>32.39</c:v>
                </c:pt>
                <c:pt idx="784">
                  <c:v>30.81</c:v>
                </c:pt>
                <c:pt idx="785">
                  <c:v>30.31</c:v>
                </c:pt>
                <c:pt idx="786">
                  <c:v>27.45</c:v>
                </c:pt>
                <c:pt idx="787">
                  <c:v>28.55</c:v>
                </c:pt>
                <c:pt idx="788">
                  <c:v>25.4</c:v>
                </c:pt>
                <c:pt idx="789">
                  <c:v>24.64</c:v>
                </c:pt>
                <c:pt idx="790">
                  <c:v>26.42</c:v>
                </c:pt>
                <c:pt idx="791">
                  <c:v>24.1</c:v>
                </c:pt>
                <c:pt idx="792">
                  <c:v>27.93</c:v>
                </c:pt>
                <c:pt idx="793">
                  <c:v>27.1</c:v>
                </c:pt>
                <c:pt idx="794">
                  <c:v>30.94</c:v>
                </c:pt>
                <c:pt idx="795">
                  <c:v>28.71</c:v>
                </c:pt>
                <c:pt idx="796">
                  <c:v>29.89</c:v>
                </c:pt>
                <c:pt idx="797">
                  <c:v>35.92</c:v>
                </c:pt>
                <c:pt idx="798">
                  <c:v>29.11</c:v>
                </c:pt>
                <c:pt idx="799">
                  <c:v>28.36</c:v>
                </c:pt>
                <c:pt idx="800">
                  <c:v>33.869999999999997</c:v>
                </c:pt>
                <c:pt idx="801">
                  <c:v>30.11</c:v>
                </c:pt>
                <c:pt idx="802">
                  <c:v>31.56</c:v>
                </c:pt>
                <c:pt idx="803">
                  <c:v>28.44</c:v>
                </c:pt>
                <c:pt idx="804">
                  <c:v>27.36</c:v>
                </c:pt>
                <c:pt idx="805" formatCode="General">
                  <c:v>29.63</c:v>
                </c:pt>
                <c:pt idx="806" formatCode="General">
                  <c:v>28.09</c:v>
                </c:pt>
                <c:pt idx="807" formatCode="General">
                  <c:v>30.33</c:v>
                </c:pt>
              </c:numCache>
            </c:numRef>
          </c:val>
          <c:smooth val="0"/>
          <c:extLst>
            <c:ext xmlns:c16="http://schemas.microsoft.com/office/drawing/2014/chart" uri="{C3380CC4-5D6E-409C-BE32-E72D297353CC}">
              <c16:uniqueId val="{00000000-E733-4D5F-A93A-4424178209DB}"/>
            </c:ext>
          </c:extLst>
        </c:ser>
        <c:dLbls>
          <c:showLegendKey val="0"/>
          <c:showVal val="0"/>
          <c:showCatName val="0"/>
          <c:showSerName val="0"/>
          <c:showPercent val="0"/>
          <c:showBubbleSize val="0"/>
        </c:dLbls>
        <c:smooth val="0"/>
        <c:axId val="2064612400"/>
        <c:axId val="1"/>
      </c:lineChart>
      <c:catAx>
        <c:axId val="2064612400"/>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4612400"/>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3-in-1</a:t>
            </a:r>
          </a:p>
        </c:rich>
      </c:tx>
      <c:overlay val="0"/>
    </c:title>
    <c:autoTitleDeleted val="0"/>
    <c:plotArea>
      <c:layout/>
      <c:lineChart>
        <c:grouping val="standard"/>
        <c:varyColors val="0"/>
        <c:ser>
          <c:idx val="6"/>
          <c:order val="0"/>
          <c:tx>
            <c:strRef>
              <c:f>Summary!$P$3</c:f>
              <c:strCache>
                <c:ptCount val="1"/>
                <c:pt idx="0">
                  <c:v>Cows 3-in-1</c:v>
                </c:pt>
              </c:strCache>
            </c:strRef>
          </c:tx>
          <c:spPr>
            <a:ln w="12700">
              <a:solidFill>
                <a:schemeClr val="tx1"/>
              </a:solidFill>
            </a:ln>
          </c:spPr>
          <c:marker>
            <c:symbol val="none"/>
          </c:marker>
          <c:cat>
            <c:numRef>
              <c:f>Summary!$B$4:$B$821</c:f>
              <c:numCache>
                <c:formatCode>General</c:formatCode>
                <c:ptCount val="818"/>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P$4:$P$821</c:f>
              <c:numCache>
                <c:formatCode>0.00</c:formatCode>
                <c:ptCount val="818"/>
                <c:pt idx="0">
                  <c:v>13.24</c:v>
                </c:pt>
                <c:pt idx="2">
                  <c:v>11</c:v>
                </c:pt>
                <c:pt idx="3">
                  <c:v>10.63</c:v>
                </c:pt>
                <c:pt idx="9">
                  <c:v>10.47</c:v>
                </c:pt>
                <c:pt idx="23">
                  <c:v>11.72</c:v>
                </c:pt>
                <c:pt idx="27">
                  <c:v>9.6199999999999992</c:v>
                </c:pt>
                <c:pt idx="32">
                  <c:v>10.37</c:v>
                </c:pt>
                <c:pt idx="39">
                  <c:v>12.95</c:v>
                </c:pt>
                <c:pt idx="45">
                  <c:v>16.88</c:v>
                </c:pt>
                <c:pt idx="50">
                  <c:v>12.49</c:v>
                </c:pt>
                <c:pt idx="54">
                  <c:v>12.03</c:v>
                </c:pt>
                <c:pt idx="57">
                  <c:v>12.54</c:v>
                </c:pt>
                <c:pt idx="63">
                  <c:v>11.95</c:v>
                </c:pt>
                <c:pt idx="65">
                  <c:v>13.21</c:v>
                </c:pt>
                <c:pt idx="68">
                  <c:v>12.35</c:v>
                </c:pt>
                <c:pt idx="79">
                  <c:v>18.37</c:v>
                </c:pt>
                <c:pt idx="95">
                  <c:v>15.82</c:v>
                </c:pt>
                <c:pt idx="100">
                  <c:v>17.27</c:v>
                </c:pt>
                <c:pt idx="103">
                  <c:v>12.03</c:v>
                </c:pt>
                <c:pt idx="123">
                  <c:v>16.149999999999999</c:v>
                </c:pt>
                <c:pt idx="133">
                  <c:v>15.68</c:v>
                </c:pt>
                <c:pt idx="141">
                  <c:v>13.57</c:v>
                </c:pt>
                <c:pt idx="144">
                  <c:v>12.67</c:v>
                </c:pt>
                <c:pt idx="150">
                  <c:v>14.6</c:v>
                </c:pt>
                <c:pt idx="156">
                  <c:v>11.54</c:v>
                </c:pt>
                <c:pt idx="166">
                  <c:v>12.06</c:v>
                </c:pt>
                <c:pt idx="175">
                  <c:v>14.52</c:v>
                </c:pt>
                <c:pt idx="177">
                  <c:v>14.69</c:v>
                </c:pt>
                <c:pt idx="191">
                  <c:v>12.74</c:v>
                </c:pt>
                <c:pt idx="194">
                  <c:v>10.93</c:v>
                </c:pt>
                <c:pt idx="196">
                  <c:v>9.91</c:v>
                </c:pt>
                <c:pt idx="197">
                  <c:v>9.91</c:v>
                </c:pt>
                <c:pt idx="214">
                  <c:v>12</c:v>
                </c:pt>
                <c:pt idx="220">
                  <c:v>15.22</c:v>
                </c:pt>
                <c:pt idx="222">
                  <c:v>19.079999999999998</c:v>
                </c:pt>
                <c:pt idx="223">
                  <c:v>12.9</c:v>
                </c:pt>
                <c:pt idx="228">
                  <c:v>10.199999999999999</c:v>
                </c:pt>
                <c:pt idx="240">
                  <c:v>11.46</c:v>
                </c:pt>
                <c:pt idx="247">
                  <c:v>13.85</c:v>
                </c:pt>
                <c:pt idx="266">
                  <c:v>14.05</c:v>
                </c:pt>
                <c:pt idx="280">
                  <c:v>16.16</c:v>
                </c:pt>
                <c:pt idx="292">
                  <c:v>11.02</c:v>
                </c:pt>
                <c:pt idx="295">
                  <c:v>14.9</c:v>
                </c:pt>
                <c:pt idx="300">
                  <c:v>12.59</c:v>
                </c:pt>
                <c:pt idx="306">
                  <c:v>15.39</c:v>
                </c:pt>
                <c:pt idx="308">
                  <c:v>10.77</c:v>
                </c:pt>
                <c:pt idx="312">
                  <c:v>12.75</c:v>
                </c:pt>
                <c:pt idx="314">
                  <c:v>17.010000000000002</c:v>
                </c:pt>
                <c:pt idx="317">
                  <c:v>12.41</c:v>
                </c:pt>
                <c:pt idx="324">
                  <c:v>15.91</c:v>
                </c:pt>
                <c:pt idx="347">
                  <c:v>24.04</c:v>
                </c:pt>
                <c:pt idx="349">
                  <c:v>17.07</c:v>
                </c:pt>
                <c:pt idx="350">
                  <c:v>18.510000000000002</c:v>
                </c:pt>
                <c:pt idx="378">
                  <c:v>24</c:v>
                </c:pt>
                <c:pt idx="390">
                  <c:v>31.11</c:v>
                </c:pt>
                <c:pt idx="395">
                  <c:v>21.37</c:v>
                </c:pt>
                <c:pt idx="401">
                  <c:v>24.86</c:v>
                </c:pt>
                <c:pt idx="412">
                  <c:v>20.47</c:v>
                </c:pt>
                <c:pt idx="430">
                  <c:v>27.93</c:v>
                </c:pt>
                <c:pt idx="442">
                  <c:v>27.45</c:v>
                </c:pt>
                <c:pt idx="443">
                  <c:v>26.51</c:v>
                </c:pt>
                <c:pt idx="450">
                  <c:v>16.059999999999999</c:v>
                </c:pt>
                <c:pt idx="457">
                  <c:v>23.81</c:v>
                </c:pt>
                <c:pt idx="460">
                  <c:v>23.78</c:v>
                </c:pt>
                <c:pt idx="463">
                  <c:v>23.23</c:v>
                </c:pt>
                <c:pt idx="464">
                  <c:v>30.73</c:v>
                </c:pt>
                <c:pt idx="482">
                  <c:v>22.65</c:v>
                </c:pt>
                <c:pt idx="499">
                  <c:v>22.41</c:v>
                </c:pt>
                <c:pt idx="509">
                  <c:v>23</c:v>
                </c:pt>
                <c:pt idx="555">
                  <c:v>23.84</c:v>
                </c:pt>
                <c:pt idx="588">
                  <c:v>25.33</c:v>
                </c:pt>
                <c:pt idx="591">
                  <c:v>30.25</c:v>
                </c:pt>
                <c:pt idx="603">
                  <c:v>28.83</c:v>
                </c:pt>
                <c:pt idx="614">
                  <c:v>23.15</c:v>
                </c:pt>
                <c:pt idx="615">
                  <c:v>29.14</c:v>
                </c:pt>
                <c:pt idx="627">
                  <c:v>35.5</c:v>
                </c:pt>
                <c:pt idx="628">
                  <c:v>26.02</c:v>
                </c:pt>
                <c:pt idx="633">
                  <c:v>25.63</c:v>
                </c:pt>
                <c:pt idx="638">
                  <c:v>27.49</c:v>
                </c:pt>
                <c:pt idx="641">
                  <c:v>27.09</c:v>
                </c:pt>
                <c:pt idx="648">
                  <c:v>28.16</c:v>
                </c:pt>
                <c:pt idx="651">
                  <c:v>29.15</c:v>
                </c:pt>
                <c:pt idx="655">
                  <c:v>24.4</c:v>
                </c:pt>
                <c:pt idx="669">
                  <c:v>25.39</c:v>
                </c:pt>
                <c:pt idx="673">
                  <c:v>25.27</c:v>
                </c:pt>
                <c:pt idx="683">
                  <c:v>24</c:v>
                </c:pt>
                <c:pt idx="703">
                  <c:v>18.87</c:v>
                </c:pt>
                <c:pt idx="709">
                  <c:v>25.11</c:v>
                </c:pt>
                <c:pt idx="711">
                  <c:v>25.07</c:v>
                </c:pt>
                <c:pt idx="724">
                  <c:v>22.22</c:v>
                </c:pt>
                <c:pt idx="738">
                  <c:v>26.44</c:v>
                </c:pt>
                <c:pt idx="740">
                  <c:v>25.89</c:v>
                </c:pt>
                <c:pt idx="766">
                  <c:v>24.69</c:v>
                </c:pt>
                <c:pt idx="795">
                  <c:v>29.17</c:v>
                </c:pt>
                <c:pt idx="797">
                  <c:v>35.29</c:v>
                </c:pt>
                <c:pt idx="800">
                  <c:v>36.29</c:v>
                </c:pt>
                <c:pt idx="801">
                  <c:v>29.41</c:v>
                </c:pt>
              </c:numCache>
            </c:numRef>
          </c:val>
          <c:smooth val="0"/>
          <c:extLst>
            <c:ext xmlns:c16="http://schemas.microsoft.com/office/drawing/2014/chart" uri="{C3380CC4-5D6E-409C-BE32-E72D297353CC}">
              <c16:uniqueId val="{00000000-51C1-45DA-AAE4-23600F026D33}"/>
            </c:ext>
          </c:extLst>
        </c:ser>
        <c:dLbls>
          <c:showLegendKey val="0"/>
          <c:showVal val="0"/>
          <c:showCatName val="0"/>
          <c:showSerName val="0"/>
          <c:showPercent val="0"/>
          <c:showBubbleSize val="0"/>
        </c:dLbls>
        <c:smooth val="0"/>
        <c:axId val="2064600400"/>
        <c:axId val="1"/>
      </c:lineChart>
      <c:catAx>
        <c:axId val="2064600400"/>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4600400"/>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 200-250kg</a:t>
            </a:r>
          </a:p>
        </c:rich>
      </c:tx>
      <c:overlay val="0"/>
    </c:title>
    <c:autoTitleDeleted val="0"/>
    <c:plotArea>
      <c:layout/>
      <c:lineChart>
        <c:grouping val="standard"/>
        <c:varyColors val="0"/>
        <c:ser>
          <c:idx val="6"/>
          <c:order val="0"/>
          <c:tx>
            <c:strRef>
              <c:f>Summary!$I$3</c:f>
              <c:strCache>
                <c:ptCount val="1"/>
                <c:pt idx="0">
                  <c:v>Heifers 200-250kg</c:v>
                </c:pt>
              </c:strCache>
            </c:strRef>
          </c:tx>
          <c:spPr>
            <a:ln w="12700">
              <a:solidFill>
                <a:schemeClr val="tx1"/>
              </a:solidFill>
            </a:ln>
          </c:spPr>
          <c:marker>
            <c:symbol val="none"/>
          </c:marker>
          <c:cat>
            <c:numRef>
              <c:f>Summary!$B$392:$B$834</c:f>
              <c:numCache>
                <c:formatCode>General</c:formatCode>
                <c:ptCount val="443"/>
                <c:pt idx="0">
                  <c:v>2018</c:v>
                </c:pt>
                <c:pt idx="50">
                  <c:v>2019</c:v>
                </c:pt>
                <c:pt idx="100">
                  <c:v>2020</c:v>
                </c:pt>
                <c:pt idx="148">
                  <c:v>2021</c:v>
                </c:pt>
                <c:pt idx="196">
                  <c:v>2022</c:v>
                </c:pt>
                <c:pt idx="246">
                  <c:v>2023</c:v>
                </c:pt>
                <c:pt idx="296">
                  <c:v>2024</c:v>
                </c:pt>
                <c:pt idx="346">
                  <c:v>2025</c:v>
                </c:pt>
                <c:pt idx="393">
                  <c:v>2026</c:v>
                </c:pt>
              </c:numCache>
            </c:numRef>
          </c:cat>
          <c:val>
            <c:numRef>
              <c:f>Summary!$I$392:$I$834</c:f>
              <c:numCache>
                <c:formatCode>0.00</c:formatCode>
                <c:ptCount val="443"/>
                <c:pt idx="26">
                  <c:v>32.869999999999997</c:v>
                </c:pt>
                <c:pt idx="27">
                  <c:v>31.71</c:v>
                </c:pt>
                <c:pt idx="28">
                  <c:v>34.69</c:v>
                </c:pt>
                <c:pt idx="29">
                  <c:v>32.97</c:v>
                </c:pt>
                <c:pt idx="30">
                  <c:v>33.200000000000003</c:v>
                </c:pt>
                <c:pt idx="31">
                  <c:v>35.01</c:v>
                </c:pt>
                <c:pt idx="32">
                  <c:v>35.86</c:v>
                </c:pt>
                <c:pt idx="33">
                  <c:v>34.450000000000003</c:v>
                </c:pt>
                <c:pt idx="34">
                  <c:v>34.5</c:v>
                </c:pt>
                <c:pt idx="35">
                  <c:v>34.25</c:v>
                </c:pt>
                <c:pt idx="36">
                  <c:v>34.08</c:v>
                </c:pt>
                <c:pt idx="37">
                  <c:v>33.94</c:v>
                </c:pt>
                <c:pt idx="38">
                  <c:v>35.520000000000003</c:v>
                </c:pt>
                <c:pt idx="39">
                  <c:v>32.979999999999997</c:v>
                </c:pt>
                <c:pt idx="40">
                  <c:v>33.049999999999997</c:v>
                </c:pt>
                <c:pt idx="41">
                  <c:v>25.6</c:v>
                </c:pt>
                <c:pt idx="42">
                  <c:v>31.79</c:v>
                </c:pt>
                <c:pt idx="43">
                  <c:v>31.59</c:v>
                </c:pt>
                <c:pt idx="44">
                  <c:v>33.46</c:v>
                </c:pt>
                <c:pt idx="45">
                  <c:v>32.46</c:v>
                </c:pt>
                <c:pt idx="46">
                  <c:v>33.299999999999997</c:v>
                </c:pt>
                <c:pt idx="47">
                  <c:v>31.92</c:v>
                </c:pt>
                <c:pt idx="48">
                  <c:v>34.04</c:v>
                </c:pt>
                <c:pt idx="49">
                  <c:v>35.01</c:v>
                </c:pt>
                <c:pt idx="51">
                  <c:v>30.68</c:v>
                </c:pt>
                <c:pt idx="52">
                  <c:v>29.73</c:v>
                </c:pt>
                <c:pt idx="53">
                  <c:v>27.19</c:v>
                </c:pt>
                <c:pt idx="54">
                  <c:v>28.64</c:v>
                </c:pt>
                <c:pt idx="55">
                  <c:v>31.51</c:v>
                </c:pt>
                <c:pt idx="56">
                  <c:v>32.07</c:v>
                </c:pt>
                <c:pt idx="57">
                  <c:v>31.42</c:v>
                </c:pt>
                <c:pt idx="58">
                  <c:v>30.69</c:v>
                </c:pt>
                <c:pt idx="59">
                  <c:v>29.55</c:v>
                </c:pt>
                <c:pt idx="60">
                  <c:v>28.64</c:v>
                </c:pt>
                <c:pt idx="61">
                  <c:v>26.84</c:v>
                </c:pt>
                <c:pt idx="62">
                  <c:v>29.36</c:v>
                </c:pt>
                <c:pt idx="63">
                  <c:v>26.95</c:v>
                </c:pt>
                <c:pt idx="64">
                  <c:v>27.98</c:v>
                </c:pt>
                <c:pt idx="65">
                  <c:v>26.84</c:v>
                </c:pt>
                <c:pt idx="66">
                  <c:v>37.14</c:v>
                </c:pt>
                <c:pt idx="67">
                  <c:v>27.25</c:v>
                </c:pt>
                <c:pt idx="68">
                  <c:v>29.32</c:v>
                </c:pt>
                <c:pt idx="69">
                  <c:v>27.75</c:v>
                </c:pt>
                <c:pt idx="70">
                  <c:v>27.39</c:v>
                </c:pt>
                <c:pt idx="71">
                  <c:v>26.94</c:v>
                </c:pt>
                <c:pt idx="72">
                  <c:v>26.64</c:v>
                </c:pt>
                <c:pt idx="73">
                  <c:v>26.7</c:v>
                </c:pt>
                <c:pt idx="74">
                  <c:v>27.86</c:v>
                </c:pt>
                <c:pt idx="75">
                  <c:v>27.05</c:v>
                </c:pt>
                <c:pt idx="76">
                  <c:v>27.44</c:v>
                </c:pt>
                <c:pt idx="77">
                  <c:v>28.58</c:v>
                </c:pt>
                <c:pt idx="78">
                  <c:v>28.42</c:v>
                </c:pt>
                <c:pt idx="79">
                  <c:v>27.09</c:v>
                </c:pt>
                <c:pt idx="80">
                  <c:v>28.09</c:v>
                </c:pt>
                <c:pt idx="81">
                  <c:v>28.23</c:v>
                </c:pt>
                <c:pt idx="82">
                  <c:v>28.8</c:v>
                </c:pt>
                <c:pt idx="83">
                  <c:v>28.17</c:v>
                </c:pt>
                <c:pt idx="84">
                  <c:v>29.74</c:v>
                </c:pt>
                <c:pt idx="85">
                  <c:v>28.08</c:v>
                </c:pt>
                <c:pt idx="86">
                  <c:v>29.22</c:v>
                </c:pt>
                <c:pt idx="87">
                  <c:v>28.39</c:v>
                </c:pt>
                <c:pt idx="88">
                  <c:v>28.03</c:v>
                </c:pt>
                <c:pt idx="89">
                  <c:v>27.71</c:v>
                </c:pt>
                <c:pt idx="90">
                  <c:v>28.97</c:v>
                </c:pt>
                <c:pt idx="91">
                  <c:v>28.41</c:v>
                </c:pt>
                <c:pt idx="92">
                  <c:v>28.13</c:v>
                </c:pt>
                <c:pt idx="93">
                  <c:v>27.31</c:v>
                </c:pt>
                <c:pt idx="94">
                  <c:v>27.59</c:v>
                </c:pt>
                <c:pt idx="95">
                  <c:v>28.26</c:v>
                </c:pt>
                <c:pt idx="107">
                  <c:v>31.08</c:v>
                </c:pt>
                <c:pt idx="108">
                  <c:v>30.09</c:v>
                </c:pt>
                <c:pt idx="109">
                  <c:v>31.62</c:v>
                </c:pt>
                <c:pt idx="110">
                  <c:v>25.03</c:v>
                </c:pt>
                <c:pt idx="111">
                  <c:v>30.16</c:v>
                </c:pt>
                <c:pt idx="112">
                  <c:v>26.85</c:v>
                </c:pt>
                <c:pt idx="113">
                  <c:v>28.44</c:v>
                </c:pt>
                <c:pt idx="114">
                  <c:v>28.1</c:v>
                </c:pt>
                <c:pt idx="115">
                  <c:v>27.84</c:v>
                </c:pt>
                <c:pt idx="116">
                  <c:v>23.61</c:v>
                </c:pt>
                <c:pt idx="117">
                  <c:v>28.34</c:v>
                </c:pt>
                <c:pt idx="118">
                  <c:v>29.61</c:v>
                </c:pt>
                <c:pt idx="119">
                  <c:v>28.83</c:v>
                </c:pt>
                <c:pt idx="120">
                  <c:v>27.55</c:v>
                </c:pt>
                <c:pt idx="121">
                  <c:v>28.15</c:v>
                </c:pt>
                <c:pt idx="122">
                  <c:v>28.23</c:v>
                </c:pt>
                <c:pt idx="123">
                  <c:v>28.32</c:v>
                </c:pt>
                <c:pt idx="124">
                  <c:v>29.41</c:v>
                </c:pt>
                <c:pt idx="125">
                  <c:v>29.37</c:v>
                </c:pt>
                <c:pt idx="126">
                  <c:v>30.05</c:v>
                </c:pt>
                <c:pt idx="127">
                  <c:v>32.119999999999997</c:v>
                </c:pt>
                <c:pt idx="128">
                  <c:v>30.59</c:v>
                </c:pt>
                <c:pt idx="129">
                  <c:v>28.94</c:v>
                </c:pt>
                <c:pt idx="130">
                  <c:v>30.43</c:v>
                </c:pt>
                <c:pt idx="131">
                  <c:v>33.32</c:v>
                </c:pt>
                <c:pt idx="132">
                  <c:v>30.99</c:v>
                </c:pt>
                <c:pt idx="133">
                  <c:v>31.4</c:v>
                </c:pt>
                <c:pt idx="134">
                  <c:v>34.31</c:v>
                </c:pt>
                <c:pt idx="135">
                  <c:v>31.88</c:v>
                </c:pt>
                <c:pt idx="136">
                  <c:v>33.549999999999997</c:v>
                </c:pt>
                <c:pt idx="137">
                  <c:v>32.22</c:v>
                </c:pt>
                <c:pt idx="138">
                  <c:v>34.4</c:v>
                </c:pt>
                <c:pt idx="139">
                  <c:v>33.619999999999997</c:v>
                </c:pt>
                <c:pt idx="140">
                  <c:v>33.17</c:v>
                </c:pt>
                <c:pt idx="141">
                  <c:v>37.380000000000003</c:v>
                </c:pt>
                <c:pt idx="142">
                  <c:v>35.44</c:v>
                </c:pt>
                <c:pt idx="143">
                  <c:v>35.9</c:v>
                </c:pt>
                <c:pt idx="144">
                  <c:v>33.22</c:v>
                </c:pt>
                <c:pt idx="145">
                  <c:v>36.46</c:v>
                </c:pt>
                <c:pt idx="146">
                  <c:v>36.729999999999997</c:v>
                </c:pt>
                <c:pt idx="147">
                  <c:v>36.76</c:v>
                </c:pt>
                <c:pt idx="148">
                  <c:v>35.340000000000003</c:v>
                </c:pt>
                <c:pt idx="149">
                  <c:v>39.200000000000003</c:v>
                </c:pt>
                <c:pt idx="150">
                  <c:v>39.08</c:v>
                </c:pt>
                <c:pt idx="151">
                  <c:v>40.39</c:v>
                </c:pt>
                <c:pt idx="152">
                  <c:v>37.46</c:v>
                </c:pt>
                <c:pt idx="153">
                  <c:v>38.99</c:v>
                </c:pt>
                <c:pt idx="154">
                  <c:v>40.340000000000003</c:v>
                </c:pt>
                <c:pt idx="155">
                  <c:v>39.46</c:v>
                </c:pt>
                <c:pt idx="156">
                  <c:v>36.520000000000003</c:v>
                </c:pt>
                <c:pt idx="157">
                  <c:v>36.46</c:v>
                </c:pt>
                <c:pt idx="158">
                  <c:v>35.520000000000003</c:v>
                </c:pt>
                <c:pt idx="159">
                  <c:v>35.24</c:v>
                </c:pt>
                <c:pt idx="160">
                  <c:v>36.04</c:v>
                </c:pt>
                <c:pt idx="161">
                  <c:v>36.229999999999997</c:v>
                </c:pt>
                <c:pt idx="162">
                  <c:v>36.33</c:v>
                </c:pt>
                <c:pt idx="163">
                  <c:v>36.799999999999997</c:v>
                </c:pt>
                <c:pt idx="164">
                  <c:v>37.36</c:v>
                </c:pt>
                <c:pt idx="165">
                  <c:v>34.880000000000003</c:v>
                </c:pt>
                <c:pt idx="166">
                  <c:v>38.35</c:v>
                </c:pt>
                <c:pt idx="167">
                  <c:v>37.14</c:v>
                </c:pt>
                <c:pt idx="168">
                  <c:v>38.36</c:v>
                </c:pt>
                <c:pt idx="169">
                  <c:v>39.24</c:v>
                </c:pt>
                <c:pt idx="170">
                  <c:v>37.08</c:v>
                </c:pt>
                <c:pt idx="171">
                  <c:v>39.06</c:v>
                </c:pt>
                <c:pt idx="172">
                  <c:v>37.64</c:v>
                </c:pt>
                <c:pt idx="175">
                  <c:v>33.76</c:v>
                </c:pt>
                <c:pt idx="176">
                  <c:v>45.51</c:v>
                </c:pt>
                <c:pt idx="177">
                  <c:v>37.76</c:v>
                </c:pt>
                <c:pt idx="178">
                  <c:v>40.21</c:v>
                </c:pt>
                <c:pt idx="179">
                  <c:v>37.479999999999997</c:v>
                </c:pt>
                <c:pt idx="180">
                  <c:v>40.67</c:v>
                </c:pt>
                <c:pt idx="181">
                  <c:v>39.39</c:v>
                </c:pt>
                <c:pt idx="182">
                  <c:v>37.4</c:v>
                </c:pt>
                <c:pt idx="183">
                  <c:v>40.04</c:v>
                </c:pt>
                <c:pt idx="184">
                  <c:v>39.4</c:v>
                </c:pt>
                <c:pt idx="185">
                  <c:v>37.97</c:v>
                </c:pt>
                <c:pt idx="186">
                  <c:v>38.9</c:v>
                </c:pt>
                <c:pt idx="187">
                  <c:v>39.81</c:v>
                </c:pt>
                <c:pt idx="188">
                  <c:v>50.11</c:v>
                </c:pt>
                <c:pt idx="189">
                  <c:v>46.95</c:v>
                </c:pt>
                <c:pt idx="190">
                  <c:v>40.69</c:v>
                </c:pt>
                <c:pt idx="191">
                  <c:v>45.73</c:v>
                </c:pt>
                <c:pt idx="192">
                  <c:v>40.909999999999997</c:v>
                </c:pt>
                <c:pt idx="193">
                  <c:v>39.9</c:v>
                </c:pt>
                <c:pt idx="194">
                  <c:v>40.68</c:v>
                </c:pt>
                <c:pt idx="195">
                  <c:v>41.37</c:v>
                </c:pt>
                <c:pt idx="196">
                  <c:v>38.78</c:v>
                </c:pt>
                <c:pt idx="197">
                  <c:v>39.409999999999997</c:v>
                </c:pt>
                <c:pt idx="198">
                  <c:v>41.03</c:v>
                </c:pt>
                <c:pt idx="199">
                  <c:v>41.27</c:v>
                </c:pt>
                <c:pt idx="200">
                  <c:v>41.28</c:v>
                </c:pt>
                <c:pt idx="201">
                  <c:v>40.19</c:v>
                </c:pt>
                <c:pt idx="202">
                  <c:v>40.98</c:v>
                </c:pt>
                <c:pt idx="203">
                  <c:v>41.47</c:v>
                </c:pt>
                <c:pt idx="204">
                  <c:v>38.24</c:v>
                </c:pt>
                <c:pt idx="205">
                  <c:v>36.450000000000003</c:v>
                </c:pt>
                <c:pt idx="206">
                  <c:v>38.840000000000003</c:v>
                </c:pt>
                <c:pt idx="207">
                  <c:v>37.880000000000003</c:v>
                </c:pt>
                <c:pt idx="208">
                  <c:v>38.340000000000003</c:v>
                </c:pt>
                <c:pt idx="209">
                  <c:v>36.979999999999997</c:v>
                </c:pt>
                <c:pt idx="210">
                  <c:v>34.479999999999997</c:v>
                </c:pt>
                <c:pt idx="211">
                  <c:v>37.69</c:v>
                </c:pt>
                <c:pt idx="212">
                  <c:v>25.23</c:v>
                </c:pt>
                <c:pt idx="213">
                  <c:v>37.659999999999997</c:v>
                </c:pt>
                <c:pt idx="214">
                  <c:v>37.229999999999997</c:v>
                </c:pt>
                <c:pt idx="215">
                  <c:v>36.869999999999997</c:v>
                </c:pt>
                <c:pt idx="216">
                  <c:v>36.49</c:v>
                </c:pt>
                <c:pt idx="217">
                  <c:v>38.47</c:v>
                </c:pt>
                <c:pt idx="218">
                  <c:v>36.32</c:v>
                </c:pt>
                <c:pt idx="219">
                  <c:v>35.94</c:v>
                </c:pt>
                <c:pt idx="220">
                  <c:v>35.18</c:v>
                </c:pt>
                <c:pt idx="221">
                  <c:v>38.979999999999997</c:v>
                </c:pt>
                <c:pt idx="222">
                  <c:v>39.44</c:v>
                </c:pt>
                <c:pt idx="223">
                  <c:v>39.869999999999997</c:v>
                </c:pt>
                <c:pt idx="224">
                  <c:v>41.78</c:v>
                </c:pt>
                <c:pt idx="225">
                  <c:v>37.700000000000003</c:v>
                </c:pt>
                <c:pt idx="226">
                  <c:v>37.04</c:v>
                </c:pt>
                <c:pt idx="227">
                  <c:v>37.200000000000003</c:v>
                </c:pt>
                <c:pt idx="232">
                  <c:v>40.42</c:v>
                </c:pt>
                <c:pt idx="233">
                  <c:v>39.18</c:v>
                </c:pt>
                <c:pt idx="234">
                  <c:v>37.47</c:v>
                </c:pt>
                <c:pt idx="235">
                  <c:v>38.69</c:v>
                </c:pt>
                <c:pt idx="236">
                  <c:v>38</c:v>
                </c:pt>
                <c:pt idx="237">
                  <c:v>38.49</c:v>
                </c:pt>
                <c:pt idx="238">
                  <c:v>38.950000000000003</c:v>
                </c:pt>
                <c:pt idx="239">
                  <c:v>42.25</c:v>
                </c:pt>
                <c:pt idx="240">
                  <c:v>37.14</c:v>
                </c:pt>
                <c:pt idx="241">
                  <c:v>37.35</c:v>
                </c:pt>
                <c:pt idx="242">
                  <c:v>37.24</c:v>
                </c:pt>
                <c:pt idx="243">
                  <c:v>37.82</c:v>
                </c:pt>
                <c:pt idx="244">
                  <c:v>34.17</c:v>
                </c:pt>
                <c:pt idx="245">
                  <c:v>37.14</c:v>
                </c:pt>
                <c:pt idx="246">
                  <c:v>38.17</c:v>
                </c:pt>
                <c:pt idx="247">
                  <c:v>36.799999999999997</c:v>
                </c:pt>
                <c:pt idx="248">
                  <c:v>35.68</c:v>
                </c:pt>
                <c:pt idx="249">
                  <c:v>36.6</c:v>
                </c:pt>
                <c:pt idx="250">
                  <c:v>35.51</c:v>
                </c:pt>
                <c:pt idx="251">
                  <c:v>34.17</c:v>
                </c:pt>
                <c:pt idx="252">
                  <c:v>37.369999999999997</c:v>
                </c:pt>
                <c:pt idx="253">
                  <c:v>33.799999999999997</c:v>
                </c:pt>
                <c:pt idx="254">
                  <c:v>33.700000000000003</c:v>
                </c:pt>
                <c:pt idx="255">
                  <c:v>37.229999999999997</c:v>
                </c:pt>
                <c:pt idx="256">
                  <c:v>34.159999999999997</c:v>
                </c:pt>
                <c:pt idx="257">
                  <c:v>34.729999999999997</c:v>
                </c:pt>
                <c:pt idx="258">
                  <c:v>34.68</c:v>
                </c:pt>
                <c:pt idx="259">
                  <c:v>35.479999999999997</c:v>
                </c:pt>
                <c:pt idx="260">
                  <c:v>34.450000000000003</c:v>
                </c:pt>
                <c:pt idx="261">
                  <c:v>31.91</c:v>
                </c:pt>
                <c:pt idx="262">
                  <c:v>29.8</c:v>
                </c:pt>
                <c:pt idx="263">
                  <c:v>30.32</c:v>
                </c:pt>
                <c:pt idx="264">
                  <c:v>31.88</c:v>
                </c:pt>
                <c:pt idx="265">
                  <c:v>30.08</c:v>
                </c:pt>
                <c:pt idx="266">
                  <c:v>27.9</c:v>
                </c:pt>
                <c:pt idx="267">
                  <c:v>33.17</c:v>
                </c:pt>
                <c:pt idx="268">
                  <c:v>29.04</c:v>
                </c:pt>
                <c:pt idx="269">
                  <c:v>29.65</c:v>
                </c:pt>
                <c:pt idx="270">
                  <c:v>31.72</c:v>
                </c:pt>
                <c:pt idx="271">
                  <c:v>31.36</c:v>
                </c:pt>
                <c:pt idx="272">
                  <c:v>32.11</c:v>
                </c:pt>
                <c:pt idx="273">
                  <c:v>33.76</c:v>
                </c:pt>
                <c:pt idx="274">
                  <c:v>35.729999999999997</c:v>
                </c:pt>
                <c:pt idx="275">
                  <c:v>34.15</c:v>
                </c:pt>
                <c:pt idx="276">
                  <c:v>34.090000000000003</c:v>
                </c:pt>
                <c:pt idx="277">
                  <c:v>33.97</c:v>
                </c:pt>
                <c:pt idx="278">
                  <c:v>34.51</c:v>
                </c:pt>
                <c:pt idx="279">
                  <c:v>31.6</c:v>
                </c:pt>
                <c:pt idx="280">
                  <c:v>32.25</c:v>
                </c:pt>
                <c:pt idx="281">
                  <c:v>31.56</c:v>
                </c:pt>
                <c:pt idx="282">
                  <c:v>32.82</c:v>
                </c:pt>
                <c:pt idx="283">
                  <c:v>32.42</c:v>
                </c:pt>
                <c:pt idx="284">
                  <c:v>33.869999999999997</c:v>
                </c:pt>
                <c:pt idx="285">
                  <c:v>32.69</c:v>
                </c:pt>
                <c:pt idx="286">
                  <c:v>31.39</c:v>
                </c:pt>
                <c:pt idx="287">
                  <c:v>32.01</c:v>
                </c:pt>
                <c:pt idx="288">
                  <c:v>34.31</c:v>
                </c:pt>
                <c:pt idx="289">
                  <c:v>31.78</c:v>
                </c:pt>
                <c:pt idx="290">
                  <c:v>32.17</c:v>
                </c:pt>
                <c:pt idx="291">
                  <c:v>32.68</c:v>
                </c:pt>
                <c:pt idx="292">
                  <c:v>34.729999999999997</c:v>
                </c:pt>
                <c:pt idx="293">
                  <c:v>33.43</c:v>
                </c:pt>
                <c:pt idx="294">
                  <c:v>33.53</c:v>
                </c:pt>
                <c:pt idx="295">
                  <c:v>33.58</c:v>
                </c:pt>
                <c:pt idx="296">
                  <c:v>34.14</c:v>
                </c:pt>
                <c:pt idx="297">
                  <c:v>31.53</c:v>
                </c:pt>
                <c:pt idx="298">
                  <c:v>33.5</c:v>
                </c:pt>
                <c:pt idx="299">
                  <c:v>34.93</c:v>
                </c:pt>
                <c:pt idx="300">
                  <c:v>36.57</c:v>
                </c:pt>
                <c:pt idx="301">
                  <c:v>34.07</c:v>
                </c:pt>
                <c:pt idx="302">
                  <c:v>34.46</c:v>
                </c:pt>
                <c:pt idx="303">
                  <c:v>32.409999999999997</c:v>
                </c:pt>
                <c:pt idx="304">
                  <c:v>33.799999999999997</c:v>
                </c:pt>
                <c:pt idx="305">
                  <c:v>32.32</c:v>
                </c:pt>
                <c:pt idx="306">
                  <c:v>29.02</c:v>
                </c:pt>
                <c:pt idx="307">
                  <c:v>29.31</c:v>
                </c:pt>
                <c:pt idx="308">
                  <c:v>29.36</c:v>
                </c:pt>
                <c:pt idx="309">
                  <c:v>27.06</c:v>
                </c:pt>
                <c:pt idx="310">
                  <c:v>28.72</c:v>
                </c:pt>
                <c:pt idx="311">
                  <c:v>29.18</c:v>
                </c:pt>
                <c:pt idx="312">
                  <c:v>30.35</c:v>
                </c:pt>
                <c:pt idx="313">
                  <c:v>30.33</c:v>
                </c:pt>
                <c:pt idx="314">
                  <c:v>30.34</c:v>
                </c:pt>
                <c:pt idx="315">
                  <c:v>29.16</c:v>
                </c:pt>
                <c:pt idx="316">
                  <c:v>32.549999999999997</c:v>
                </c:pt>
                <c:pt idx="317">
                  <c:v>29.65</c:v>
                </c:pt>
                <c:pt idx="318">
                  <c:v>30.92</c:v>
                </c:pt>
                <c:pt idx="319">
                  <c:v>29.86</c:v>
                </c:pt>
                <c:pt idx="320">
                  <c:v>30.29</c:v>
                </c:pt>
                <c:pt idx="321">
                  <c:v>31.14</c:v>
                </c:pt>
                <c:pt idx="322">
                  <c:v>31.4</c:v>
                </c:pt>
                <c:pt idx="323">
                  <c:v>31.15</c:v>
                </c:pt>
                <c:pt idx="324">
                  <c:v>33.01</c:v>
                </c:pt>
                <c:pt idx="325">
                  <c:v>32.18</c:v>
                </c:pt>
                <c:pt idx="326">
                  <c:v>30.49</c:v>
                </c:pt>
                <c:pt idx="327">
                  <c:v>30.42</c:v>
                </c:pt>
                <c:pt idx="328">
                  <c:v>30.83</c:v>
                </c:pt>
                <c:pt idx="329">
                  <c:v>29.59</c:v>
                </c:pt>
                <c:pt idx="330">
                  <c:v>31.13</c:v>
                </c:pt>
                <c:pt idx="331">
                  <c:v>29.16</c:v>
                </c:pt>
                <c:pt idx="332">
                  <c:v>29.7</c:v>
                </c:pt>
                <c:pt idx="333">
                  <c:v>29.13</c:v>
                </c:pt>
                <c:pt idx="334">
                  <c:v>31.08</c:v>
                </c:pt>
                <c:pt idx="335">
                  <c:v>29.66</c:v>
                </c:pt>
                <c:pt idx="336">
                  <c:v>30.38</c:v>
                </c:pt>
                <c:pt idx="337">
                  <c:v>29.43</c:v>
                </c:pt>
                <c:pt idx="338">
                  <c:v>31.9</c:v>
                </c:pt>
                <c:pt idx="339">
                  <c:v>31.69</c:v>
                </c:pt>
                <c:pt idx="340">
                  <c:v>30.93</c:v>
                </c:pt>
                <c:pt idx="341">
                  <c:v>32.880000000000003</c:v>
                </c:pt>
                <c:pt idx="342">
                  <c:v>31.05</c:v>
                </c:pt>
                <c:pt idx="343">
                  <c:v>32.33</c:v>
                </c:pt>
                <c:pt idx="344">
                  <c:v>33.24</c:v>
                </c:pt>
                <c:pt idx="345">
                  <c:v>31.19</c:v>
                </c:pt>
                <c:pt idx="346">
                  <c:v>32.64</c:v>
                </c:pt>
                <c:pt idx="347">
                  <c:v>31.54</c:v>
                </c:pt>
                <c:pt idx="348">
                  <c:v>33.15</c:v>
                </c:pt>
                <c:pt idx="349">
                  <c:v>34.380000000000003</c:v>
                </c:pt>
                <c:pt idx="350">
                  <c:v>31.79</c:v>
                </c:pt>
                <c:pt idx="351">
                  <c:v>31.79</c:v>
                </c:pt>
                <c:pt idx="352">
                  <c:v>31.84</c:v>
                </c:pt>
                <c:pt idx="353">
                  <c:v>32.880000000000003</c:v>
                </c:pt>
                <c:pt idx="354">
                  <c:v>30.24</c:v>
                </c:pt>
                <c:pt idx="355">
                  <c:v>30.06</c:v>
                </c:pt>
                <c:pt idx="356">
                  <c:v>29.91</c:v>
                </c:pt>
                <c:pt idx="357">
                  <c:v>31.44</c:v>
                </c:pt>
                <c:pt idx="358">
                  <c:v>33.08</c:v>
                </c:pt>
                <c:pt idx="359">
                  <c:v>32.270000000000003</c:v>
                </c:pt>
                <c:pt idx="360">
                  <c:v>32.409999999999997</c:v>
                </c:pt>
                <c:pt idx="361">
                  <c:v>35.299999999999997</c:v>
                </c:pt>
                <c:pt idx="362">
                  <c:v>34.29</c:v>
                </c:pt>
                <c:pt idx="363">
                  <c:v>33.04</c:v>
                </c:pt>
                <c:pt idx="364">
                  <c:v>33.619999999999997</c:v>
                </c:pt>
                <c:pt idx="365">
                  <c:v>35.39</c:v>
                </c:pt>
                <c:pt idx="366">
                  <c:v>34.770000000000003</c:v>
                </c:pt>
                <c:pt idx="367">
                  <c:v>33.659999999999997</c:v>
                </c:pt>
                <c:pt idx="368">
                  <c:v>34.770000000000003</c:v>
                </c:pt>
                <c:pt idx="369">
                  <c:v>31.85</c:v>
                </c:pt>
                <c:pt idx="370">
                  <c:v>34.58</c:v>
                </c:pt>
                <c:pt idx="371">
                  <c:v>33.28</c:v>
                </c:pt>
                <c:pt idx="372">
                  <c:v>35.39</c:v>
                </c:pt>
                <c:pt idx="373">
                  <c:v>34.729999999999997</c:v>
                </c:pt>
                <c:pt idx="374">
                  <c:v>34.97</c:v>
                </c:pt>
                <c:pt idx="375">
                  <c:v>34.9</c:v>
                </c:pt>
                <c:pt idx="376">
                  <c:v>35.47</c:v>
                </c:pt>
                <c:pt idx="377">
                  <c:v>34.69</c:v>
                </c:pt>
                <c:pt idx="378">
                  <c:v>35.729999999999997</c:v>
                </c:pt>
                <c:pt idx="379">
                  <c:v>36.25</c:v>
                </c:pt>
                <c:pt idx="380">
                  <c:v>36.380000000000003</c:v>
                </c:pt>
                <c:pt idx="381">
                  <c:v>35.76</c:v>
                </c:pt>
                <c:pt idx="382">
                  <c:v>34.14</c:v>
                </c:pt>
                <c:pt idx="383">
                  <c:v>36.93</c:v>
                </c:pt>
                <c:pt idx="384">
                  <c:v>37.31</c:v>
                </c:pt>
                <c:pt idx="385">
                  <c:v>36.44</c:v>
                </c:pt>
                <c:pt idx="386">
                  <c:v>37.83</c:v>
                </c:pt>
                <c:pt idx="387">
                  <c:v>40.22</c:v>
                </c:pt>
                <c:pt idx="388">
                  <c:v>40.49</c:v>
                </c:pt>
                <c:pt idx="389">
                  <c:v>41.16</c:v>
                </c:pt>
                <c:pt idx="390">
                  <c:v>40.65</c:v>
                </c:pt>
                <c:pt idx="391">
                  <c:v>41.13</c:v>
                </c:pt>
                <c:pt idx="392">
                  <c:v>40.950000000000003</c:v>
                </c:pt>
                <c:pt idx="393">
                  <c:v>38.71</c:v>
                </c:pt>
                <c:pt idx="394">
                  <c:v>40.4</c:v>
                </c:pt>
                <c:pt idx="395">
                  <c:v>38.26</c:v>
                </c:pt>
                <c:pt idx="396">
                  <c:v>37.92</c:v>
                </c:pt>
                <c:pt idx="397">
                  <c:v>38.58</c:v>
                </c:pt>
                <c:pt idx="398">
                  <c:v>37.4</c:v>
                </c:pt>
                <c:pt idx="399">
                  <c:v>37.31</c:v>
                </c:pt>
                <c:pt idx="400">
                  <c:v>36.42</c:v>
                </c:pt>
                <c:pt idx="401">
                  <c:v>36.96</c:v>
                </c:pt>
                <c:pt idx="402">
                  <c:v>36.950000000000003</c:v>
                </c:pt>
                <c:pt idx="403">
                  <c:v>39.15</c:v>
                </c:pt>
                <c:pt idx="404">
                  <c:v>41.55</c:v>
                </c:pt>
                <c:pt idx="405">
                  <c:v>40.200000000000003</c:v>
                </c:pt>
                <c:pt idx="406">
                  <c:v>37.74</c:v>
                </c:pt>
                <c:pt idx="407">
                  <c:v>42.32</c:v>
                </c:pt>
                <c:pt idx="408">
                  <c:v>40.799999999999997</c:v>
                </c:pt>
                <c:pt idx="409">
                  <c:v>39.42</c:v>
                </c:pt>
                <c:pt idx="410">
                  <c:v>39.25</c:v>
                </c:pt>
                <c:pt idx="411">
                  <c:v>41.69</c:v>
                </c:pt>
                <c:pt idx="412">
                  <c:v>40.47</c:v>
                </c:pt>
                <c:pt idx="413">
                  <c:v>41.62</c:v>
                </c:pt>
                <c:pt idx="414">
                  <c:v>41.42</c:v>
                </c:pt>
                <c:pt idx="415">
                  <c:v>38.69</c:v>
                </c:pt>
                <c:pt idx="416">
                  <c:v>41.62</c:v>
                </c:pt>
                <c:pt idx="417" formatCode="General">
                  <c:v>42.01</c:v>
                </c:pt>
                <c:pt idx="418" formatCode="General">
                  <c:v>41.54</c:v>
                </c:pt>
                <c:pt idx="419" formatCode="General">
                  <c:v>42.83</c:v>
                </c:pt>
              </c:numCache>
            </c:numRef>
          </c:val>
          <c:smooth val="0"/>
          <c:extLst>
            <c:ext xmlns:c16="http://schemas.microsoft.com/office/drawing/2014/chart" uri="{C3380CC4-5D6E-409C-BE32-E72D297353CC}">
              <c16:uniqueId val="{00000000-DED9-4CF5-BD9E-2E655756CD26}"/>
            </c:ext>
          </c:extLst>
        </c:ser>
        <c:dLbls>
          <c:showLegendKey val="0"/>
          <c:showVal val="0"/>
          <c:showCatName val="0"/>
          <c:showSerName val="0"/>
          <c:showPercent val="0"/>
          <c:showBubbleSize val="0"/>
        </c:dLbls>
        <c:smooth val="0"/>
        <c:axId val="2063495184"/>
        <c:axId val="1"/>
      </c:lineChart>
      <c:catAx>
        <c:axId val="206349518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495184"/>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gt;250kg</a:t>
            </a:r>
          </a:p>
        </c:rich>
      </c:tx>
      <c:overlay val="0"/>
    </c:title>
    <c:autoTitleDeleted val="0"/>
    <c:plotArea>
      <c:layout/>
      <c:lineChart>
        <c:grouping val="standard"/>
        <c:varyColors val="0"/>
        <c:ser>
          <c:idx val="6"/>
          <c:order val="0"/>
          <c:tx>
            <c:strRef>
              <c:f>Summary!$J$3</c:f>
              <c:strCache>
                <c:ptCount val="1"/>
                <c:pt idx="0">
                  <c:v>Heifers &gt;250kg</c:v>
                </c:pt>
              </c:strCache>
            </c:strRef>
          </c:tx>
          <c:spPr>
            <a:ln w="12700">
              <a:solidFill>
                <a:schemeClr val="tx1"/>
              </a:solidFill>
            </a:ln>
          </c:spPr>
          <c:marker>
            <c:symbol val="none"/>
          </c:marker>
          <c:cat>
            <c:numRef>
              <c:f>Summary!$B$4:$B$818</c:f>
              <c:numCache>
                <c:formatCode>General</c:formatCode>
                <c:ptCount val="81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J$4:$J$818</c:f>
              <c:numCache>
                <c:formatCode>0.00</c:formatCode>
                <c:ptCount val="815"/>
                <c:pt idx="0">
                  <c:v>14.61</c:v>
                </c:pt>
                <c:pt idx="1">
                  <c:v>10.01</c:v>
                </c:pt>
                <c:pt idx="2">
                  <c:v>13.3</c:v>
                </c:pt>
                <c:pt idx="3">
                  <c:v>14.95</c:v>
                </c:pt>
                <c:pt idx="4">
                  <c:v>13.76</c:v>
                </c:pt>
                <c:pt idx="5">
                  <c:v>13.16</c:v>
                </c:pt>
                <c:pt idx="6">
                  <c:v>12.53</c:v>
                </c:pt>
                <c:pt idx="7">
                  <c:v>12.51</c:v>
                </c:pt>
                <c:pt idx="8">
                  <c:v>13.53</c:v>
                </c:pt>
                <c:pt idx="9">
                  <c:v>13.08</c:v>
                </c:pt>
                <c:pt idx="10">
                  <c:v>12.49</c:v>
                </c:pt>
                <c:pt idx="11">
                  <c:v>12.96</c:v>
                </c:pt>
                <c:pt idx="12">
                  <c:v>13.22</c:v>
                </c:pt>
                <c:pt idx="13">
                  <c:v>14.09</c:v>
                </c:pt>
                <c:pt idx="14">
                  <c:v>13.68</c:v>
                </c:pt>
                <c:pt idx="15">
                  <c:v>12.91</c:v>
                </c:pt>
                <c:pt idx="16">
                  <c:v>13.52</c:v>
                </c:pt>
                <c:pt idx="17">
                  <c:v>13.25</c:v>
                </c:pt>
                <c:pt idx="18">
                  <c:v>12.84</c:v>
                </c:pt>
                <c:pt idx="19">
                  <c:v>13.35</c:v>
                </c:pt>
                <c:pt idx="20">
                  <c:v>13.19</c:v>
                </c:pt>
                <c:pt idx="21">
                  <c:v>13.15</c:v>
                </c:pt>
                <c:pt idx="22">
                  <c:v>13.75</c:v>
                </c:pt>
                <c:pt idx="23">
                  <c:v>12.39</c:v>
                </c:pt>
                <c:pt idx="24">
                  <c:v>13.81</c:v>
                </c:pt>
                <c:pt idx="25">
                  <c:v>14.92</c:v>
                </c:pt>
                <c:pt idx="26">
                  <c:v>13.31</c:v>
                </c:pt>
                <c:pt idx="27">
                  <c:v>14</c:v>
                </c:pt>
                <c:pt idx="28">
                  <c:v>11.9</c:v>
                </c:pt>
                <c:pt idx="29">
                  <c:v>13.98</c:v>
                </c:pt>
                <c:pt idx="30">
                  <c:v>13.51</c:v>
                </c:pt>
                <c:pt idx="31">
                  <c:v>14.77</c:v>
                </c:pt>
                <c:pt idx="32">
                  <c:v>10.84</c:v>
                </c:pt>
                <c:pt idx="33">
                  <c:v>14.15</c:v>
                </c:pt>
                <c:pt idx="34">
                  <c:v>13.98</c:v>
                </c:pt>
                <c:pt idx="35">
                  <c:v>13.41</c:v>
                </c:pt>
                <c:pt idx="36">
                  <c:v>13.64</c:v>
                </c:pt>
                <c:pt idx="37">
                  <c:v>12.92</c:v>
                </c:pt>
                <c:pt idx="38">
                  <c:v>15.15</c:v>
                </c:pt>
                <c:pt idx="39">
                  <c:v>14.14</c:v>
                </c:pt>
                <c:pt idx="40">
                  <c:v>14.9</c:v>
                </c:pt>
                <c:pt idx="41">
                  <c:v>14.47</c:v>
                </c:pt>
                <c:pt idx="42">
                  <c:v>14.63</c:v>
                </c:pt>
                <c:pt idx="43">
                  <c:v>14.93</c:v>
                </c:pt>
                <c:pt idx="44">
                  <c:v>16.239999999999998</c:v>
                </c:pt>
                <c:pt idx="45">
                  <c:v>15.18</c:v>
                </c:pt>
                <c:pt idx="46">
                  <c:v>14.66</c:v>
                </c:pt>
                <c:pt idx="47">
                  <c:v>14.71</c:v>
                </c:pt>
                <c:pt idx="48">
                  <c:v>16.27</c:v>
                </c:pt>
                <c:pt idx="49">
                  <c:v>16.190000000000001</c:v>
                </c:pt>
                <c:pt idx="50">
                  <c:v>15.59</c:v>
                </c:pt>
                <c:pt idx="51">
                  <c:v>15.63</c:v>
                </c:pt>
                <c:pt idx="52">
                  <c:v>14.34</c:v>
                </c:pt>
                <c:pt idx="53">
                  <c:v>14.31</c:v>
                </c:pt>
                <c:pt idx="54">
                  <c:v>13.5</c:v>
                </c:pt>
                <c:pt idx="55">
                  <c:v>13.23</c:v>
                </c:pt>
                <c:pt idx="56">
                  <c:v>14.47</c:v>
                </c:pt>
                <c:pt idx="57">
                  <c:v>15.89</c:v>
                </c:pt>
                <c:pt idx="58">
                  <c:v>14.5</c:v>
                </c:pt>
                <c:pt idx="59">
                  <c:v>14.22</c:v>
                </c:pt>
                <c:pt idx="60">
                  <c:v>14.26</c:v>
                </c:pt>
                <c:pt idx="61">
                  <c:v>15.82</c:v>
                </c:pt>
                <c:pt idx="62">
                  <c:v>14.93</c:v>
                </c:pt>
                <c:pt idx="63">
                  <c:v>12.84</c:v>
                </c:pt>
                <c:pt idx="64">
                  <c:v>13.48</c:v>
                </c:pt>
                <c:pt idx="65">
                  <c:v>13.69</c:v>
                </c:pt>
                <c:pt idx="66">
                  <c:v>16.59</c:v>
                </c:pt>
                <c:pt idx="67">
                  <c:v>14.91</c:v>
                </c:pt>
                <c:pt idx="68">
                  <c:v>15.29</c:v>
                </c:pt>
                <c:pt idx="69">
                  <c:v>14.76</c:v>
                </c:pt>
                <c:pt idx="70">
                  <c:v>17.059999999999999</c:v>
                </c:pt>
                <c:pt idx="71">
                  <c:v>15.62</c:v>
                </c:pt>
                <c:pt idx="72">
                  <c:v>15.2</c:v>
                </c:pt>
                <c:pt idx="73">
                  <c:v>16.010000000000002</c:v>
                </c:pt>
                <c:pt idx="74">
                  <c:v>16.73</c:v>
                </c:pt>
                <c:pt idx="75">
                  <c:v>13.68</c:v>
                </c:pt>
                <c:pt idx="76">
                  <c:v>13.68</c:v>
                </c:pt>
                <c:pt idx="77">
                  <c:v>15.22</c:v>
                </c:pt>
                <c:pt idx="78">
                  <c:v>16.47</c:v>
                </c:pt>
                <c:pt idx="79">
                  <c:v>16.760000000000002</c:v>
                </c:pt>
                <c:pt idx="80">
                  <c:v>16.91</c:v>
                </c:pt>
                <c:pt idx="81">
                  <c:v>15.62</c:v>
                </c:pt>
                <c:pt idx="82">
                  <c:v>16.670000000000002</c:v>
                </c:pt>
                <c:pt idx="83">
                  <c:v>18.52</c:v>
                </c:pt>
                <c:pt idx="84">
                  <c:v>21.15</c:v>
                </c:pt>
                <c:pt idx="85">
                  <c:v>19.29</c:v>
                </c:pt>
                <c:pt idx="86">
                  <c:v>18.84</c:v>
                </c:pt>
                <c:pt idx="87">
                  <c:v>17.760000000000002</c:v>
                </c:pt>
                <c:pt idx="88">
                  <c:v>18.39</c:v>
                </c:pt>
                <c:pt idx="89">
                  <c:v>20.239999999999998</c:v>
                </c:pt>
                <c:pt idx="90">
                  <c:v>16.82</c:v>
                </c:pt>
                <c:pt idx="91">
                  <c:v>18.690000000000001</c:v>
                </c:pt>
                <c:pt idx="92">
                  <c:v>17.63</c:v>
                </c:pt>
                <c:pt idx="93">
                  <c:v>17.72</c:v>
                </c:pt>
                <c:pt idx="94">
                  <c:v>19.16</c:v>
                </c:pt>
                <c:pt idx="95">
                  <c:v>16.38</c:v>
                </c:pt>
                <c:pt idx="96">
                  <c:v>20.170000000000002</c:v>
                </c:pt>
                <c:pt idx="97">
                  <c:v>16.41</c:v>
                </c:pt>
                <c:pt idx="98">
                  <c:v>16.13</c:v>
                </c:pt>
                <c:pt idx="99">
                  <c:v>16.32</c:v>
                </c:pt>
                <c:pt idx="100">
                  <c:v>16.809999999999999</c:v>
                </c:pt>
                <c:pt idx="101">
                  <c:v>14.18</c:v>
                </c:pt>
                <c:pt idx="102">
                  <c:v>14.09</c:v>
                </c:pt>
                <c:pt idx="103">
                  <c:v>13.68</c:v>
                </c:pt>
                <c:pt idx="104">
                  <c:v>13.67</c:v>
                </c:pt>
                <c:pt idx="105">
                  <c:v>13.9</c:v>
                </c:pt>
                <c:pt idx="106">
                  <c:v>14.13</c:v>
                </c:pt>
                <c:pt idx="107">
                  <c:v>14.01</c:v>
                </c:pt>
                <c:pt idx="108">
                  <c:v>13.18</c:v>
                </c:pt>
                <c:pt idx="109">
                  <c:v>14.94</c:v>
                </c:pt>
                <c:pt idx="110">
                  <c:v>14.23</c:v>
                </c:pt>
                <c:pt idx="111">
                  <c:v>14.41</c:v>
                </c:pt>
                <c:pt idx="112">
                  <c:v>13.3</c:v>
                </c:pt>
                <c:pt idx="113">
                  <c:v>14.42</c:v>
                </c:pt>
                <c:pt idx="114">
                  <c:v>14.14</c:v>
                </c:pt>
                <c:pt idx="115">
                  <c:v>14.23</c:v>
                </c:pt>
                <c:pt idx="116">
                  <c:v>14.55</c:v>
                </c:pt>
                <c:pt idx="117">
                  <c:v>13.6</c:v>
                </c:pt>
                <c:pt idx="118">
                  <c:v>12.72</c:v>
                </c:pt>
                <c:pt idx="119">
                  <c:v>14.76</c:v>
                </c:pt>
                <c:pt idx="120">
                  <c:v>13.56</c:v>
                </c:pt>
                <c:pt idx="121">
                  <c:v>15.09</c:v>
                </c:pt>
                <c:pt idx="122">
                  <c:v>15.13</c:v>
                </c:pt>
                <c:pt idx="123">
                  <c:v>14.84</c:v>
                </c:pt>
                <c:pt idx="124">
                  <c:v>14.91</c:v>
                </c:pt>
                <c:pt idx="125">
                  <c:v>15.5</c:v>
                </c:pt>
                <c:pt idx="126">
                  <c:v>15.52</c:v>
                </c:pt>
                <c:pt idx="127">
                  <c:v>17.93</c:v>
                </c:pt>
                <c:pt idx="128">
                  <c:v>15.86</c:v>
                </c:pt>
                <c:pt idx="129">
                  <c:v>15.22</c:v>
                </c:pt>
                <c:pt idx="130">
                  <c:v>16.28</c:v>
                </c:pt>
                <c:pt idx="131">
                  <c:v>14.8</c:v>
                </c:pt>
                <c:pt idx="132">
                  <c:v>15.41</c:v>
                </c:pt>
                <c:pt idx="133">
                  <c:v>16.18</c:v>
                </c:pt>
                <c:pt idx="134">
                  <c:v>16.88</c:v>
                </c:pt>
                <c:pt idx="135">
                  <c:v>16.16</c:v>
                </c:pt>
                <c:pt idx="136">
                  <c:v>17.510000000000002</c:v>
                </c:pt>
                <c:pt idx="137">
                  <c:v>14.93</c:v>
                </c:pt>
                <c:pt idx="138">
                  <c:v>15.95</c:v>
                </c:pt>
                <c:pt idx="139">
                  <c:v>15.5</c:v>
                </c:pt>
                <c:pt idx="140">
                  <c:v>14.66</c:v>
                </c:pt>
                <c:pt idx="141">
                  <c:v>14.33</c:v>
                </c:pt>
                <c:pt idx="142">
                  <c:v>16.43</c:v>
                </c:pt>
                <c:pt idx="143">
                  <c:v>16.16</c:v>
                </c:pt>
                <c:pt idx="144">
                  <c:v>16.47</c:v>
                </c:pt>
                <c:pt idx="145">
                  <c:v>15.27</c:v>
                </c:pt>
                <c:pt idx="146">
                  <c:v>15.09</c:v>
                </c:pt>
                <c:pt idx="147">
                  <c:v>16.59</c:v>
                </c:pt>
                <c:pt idx="148">
                  <c:v>15.2</c:v>
                </c:pt>
                <c:pt idx="149">
                  <c:v>14.78</c:v>
                </c:pt>
                <c:pt idx="150">
                  <c:v>14.33</c:v>
                </c:pt>
                <c:pt idx="151">
                  <c:v>13.93</c:v>
                </c:pt>
                <c:pt idx="152">
                  <c:v>13.34</c:v>
                </c:pt>
                <c:pt idx="153">
                  <c:v>13.39</c:v>
                </c:pt>
                <c:pt idx="154">
                  <c:v>12.45</c:v>
                </c:pt>
                <c:pt idx="155">
                  <c:v>15.55</c:v>
                </c:pt>
                <c:pt idx="156">
                  <c:v>13.91</c:v>
                </c:pt>
                <c:pt idx="157">
                  <c:v>13.57</c:v>
                </c:pt>
                <c:pt idx="158">
                  <c:v>15.66</c:v>
                </c:pt>
                <c:pt idx="159">
                  <c:v>14.68</c:v>
                </c:pt>
                <c:pt idx="160">
                  <c:v>13.89</c:v>
                </c:pt>
                <c:pt idx="161">
                  <c:v>14.09</c:v>
                </c:pt>
                <c:pt idx="162">
                  <c:v>13.94</c:v>
                </c:pt>
                <c:pt idx="163">
                  <c:v>14.42</c:v>
                </c:pt>
                <c:pt idx="164">
                  <c:v>12.91</c:v>
                </c:pt>
                <c:pt idx="165">
                  <c:v>14.26</c:v>
                </c:pt>
                <c:pt idx="166">
                  <c:v>12.73</c:v>
                </c:pt>
                <c:pt idx="167">
                  <c:v>15.01</c:v>
                </c:pt>
                <c:pt idx="168">
                  <c:v>13.76</c:v>
                </c:pt>
                <c:pt idx="169">
                  <c:v>14.92</c:v>
                </c:pt>
                <c:pt idx="170">
                  <c:v>13.32</c:v>
                </c:pt>
                <c:pt idx="171">
                  <c:v>14.46</c:v>
                </c:pt>
                <c:pt idx="172">
                  <c:v>14.84</c:v>
                </c:pt>
                <c:pt idx="173">
                  <c:v>14.05</c:v>
                </c:pt>
                <c:pt idx="174">
                  <c:v>14.19</c:v>
                </c:pt>
                <c:pt idx="175">
                  <c:v>13.38</c:v>
                </c:pt>
                <c:pt idx="176">
                  <c:v>14.72</c:v>
                </c:pt>
                <c:pt idx="177">
                  <c:v>14.96</c:v>
                </c:pt>
                <c:pt idx="178">
                  <c:v>15.13</c:v>
                </c:pt>
                <c:pt idx="179">
                  <c:v>14.42</c:v>
                </c:pt>
                <c:pt idx="180">
                  <c:v>14.95</c:v>
                </c:pt>
                <c:pt idx="181">
                  <c:v>14.31</c:v>
                </c:pt>
                <c:pt idx="182">
                  <c:v>14.65</c:v>
                </c:pt>
                <c:pt idx="183">
                  <c:v>14.43</c:v>
                </c:pt>
                <c:pt idx="184">
                  <c:v>16.760000000000002</c:v>
                </c:pt>
                <c:pt idx="185">
                  <c:v>15.07</c:v>
                </c:pt>
                <c:pt idx="186">
                  <c:v>15.9</c:v>
                </c:pt>
                <c:pt idx="187">
                  <c:v>15.82</c:v>
                </c:pt>
                <c:pt idx="188">
                  <c:v>15.48</c:v>
                </c:pt>
                <c:pt idx="189">
                  <c:v>15.48</c:v>
                </c:pt>
                <c:pt idx="190">
                  <c:v>15.35</c:v>
                </c:pt>
                <c:pt idx="191">
                  <c:v>13.6</c:v>
                </c:pt>
                <c:pt idx="192">
                  <c:v>14.82</c:v>
                </c:pt>
                <c:pt idx="193">
                  <c:v>14.58</c:v>
                </c:pt>
                <c:pt idx="194">
                  <c:v>14.74</c:v>
                </c:pt>
                <c:pt idx="195">
                  <c:v>14.03</c:v>
                </c:pt>
                <c:pt idx="196">
                  <c:v>14.64</c:v>
                </c:pt>
                <c:pt idx="197">
                  <c:v>14.33</c:v>
                </c:pt>
                <c:pt idx="198">
                  <c:v>14.26</c:v>
                </c:pt>
                <c:pt idx="199">
                  <c:v>14.49</c:v>
                </c:pt>
                <c:pt idx="200">
                  <c:v>15.14</c:v>
                </c:pt>
                <c:pt idx="201">
                  <c:v>14.41</c:v>
                </c:pt>
                <c:pt idx="202">
                  <c:v>14.13</c:v>
                </c:pt>
                <c:pt idx="203">
                  <c:v>15.46</c:v>
                </c:pt>
                <c:pt idx="204">
                  <c:v>15.16</c:v>
                </c:pt>
                <c:pt idx="205">
                  <c:v>15.36</c:v>
                </c:pt>
                <c:pt idx="206">
                  <c:v>13.95</c:v>
                </c:pt>
                <c:pt idx="207">
                  <c:v>13.93</c:v>
                </c:pt>
                <c:pt idx="208">
                  <c:v>14.11</c:v>
                </c:pt>
                <c:pt idx="209">
                  <c:v>14.48</c:v>
                </c:pt>
                <c:pt idx="210">
                  <c:v>14.08</c:v>
                </c:pt>
                <c:pt idx="211">
                  <c:v>14.43</c:v>
                </c:pt>
                <c:pt idx="212">
                  <c:v>14</c:v>
                </c:pt>
                <c:pt idx="213">
                  <c:v>15.72</c:v>
                </c:pt>
                <c:pt idx="214">
                  <c:v>14.92</c:v>
                </c:pt>
                <c:pt idx="215">
                  <c:v>15.36</c:v>
                </c:pt>
                <c:pt idx="216">
                  <c:v>15.66</c:v>
                </c:pt>
                <c:pt idx="217">
                  <c:v>15.47</c:v>
                </c:pt>
                <c:pt idx="218">
                  <c:v>15.43</c:v>
                </c:pt>
                <c:pt idx="219">
                  <c:v>15.5</c:v>
                </c:pt>
                <c:pt idx="220">
                  <c:v>16.670000000000002</c:v>
                </c:pt>
                <c:pt idx="221">
                  <c:v>16.850000000000001</c:v>
                </c:pt>
                <c:pt idx="222">
                  <c:v>16.21</c:v>
                </c:pt>
                <c:pt idx="223">
                  <c:v>20.23</c:v>
                </c:pt>
                <c:pt idx="224">
                  <c:v>15.14</c:v>
                </c:pt>
                <c:pt idx="225">
                  <c:v>16.43</c:v>
                </c:pt>
                <c:pt idx="226">
                  <c:v>16.21</c:v>
                </c:pt>
                <c:pt idx="227">
                  <c:v>15.58</c:v>
                </c:pt>
                <c:pt idx="228">
                  <c:v>16.75</c:v>
                </c:pt>
                <c:pt idx="229">
                  <c:v>15.2</c:v>
                </c:pt>
                <c:pt idx="230">
                  <c:v>16.68</c:v>
                </c:pt>
                <c:pt idx="231">
                  <c:v>17.05</c:v>
                </c:pt>
                <c:pt idx="232">
                  <c:v>16.52</c:v>
                </c:pt>
                <c:pt idx="233">
                  <c:v>17.71</c:v>
                </c:pt>
                <c:pt idx="234">
                  <c:v>18.309999999999999</c:v>
                </c:pt>
                <c:pt idx="235">
                  <c:v>17.670000000000002</c:v>
                </c:pt>
                <c:pt idx="236">
                  <c:v>17.989999999999998</c:v>
                </c:pt>
                <c:pt idx="237">
                  <c:v>17.93</c:v>
                </c:pt>
                <c:pt idx="238">
                  <c:v>17.78</c:v>
                </c:pt>
                <c:pt idx="239">
                  <c:v>18.48</c:v>
                </c:pt>
                <c:pt idx="240">
                  <c:v>17.78</c:v>
                </c:pt>
                <c:pt idx="241">
                  <c:v>18.03</c:v>
                </c:pt>
                <c:pt idx="242">
                  <c:v>17.53</c:v>
                </c:pt>
                <c:pt idx="243">
                  <c:v>16.420000000000002</c:v>
                </c:pt>
                <c:pt idx="244">
                  <c:v>16.84</c:v>
                </c:pt>
                <c:pt idx="245">
                  <c:v>16.13</c:v>
                </c:pt>
                <c:pt idx="246">
                  <c:v>15.81</c:v>
                </c:pt>
                <c:pt idx="247">
                  <c:v>15.45</c:v>
                </c:pt>
                <c:pt idx="248">
                  <c:v>15.2</c:v>
                </c:pt>
                <c:pt idx="249">
                  <c:v>14.45</c:v>
                </c:pt>
                <c:pt idx="250">
                  <c:v>14.99</c:v>
                </c:pt>
                <c:pt idx="251">
                  <c:v>16.07</c:v>
                </c:pt>
                <c:pt idx="252">
                  <c:v>15.06</c:v>
                </c:pt>
                <c:pt idx="253">
                  <c:v>16.62</c:v>
                </c:pt>
                <c:pt idx="254">
                  <c:v>15.5</c:v>
                </c:pt>
                <c:pt idx="255">
                  <c:v>16.420000000000002</c:v>
                </c:pt>
                <c:pt idx="256">
                  <c:v>16.14</c:v>
                </c:pt>
                <c:pt idx="257">
                  <c:v>16.95</c:v>
                </c:pt>
                <c:pt idx="258">
                  <c:v>16.02</c:v>
                </c:pt>
                <c:pt idx="259">
                  <c:v>15.54</c:v>
                </c:pt>
                <c:pt idx="260">
                  <c:v>16.03</c:v>
                </c:pt>
                <c:pt idx="261">
                  <c:v>15.28</c:v>
                </c:pt>
                <c:pt idx="262">
                  <c:v>16.78</c:v>
                </c:pt>
                <c:pt idx="263">
                  <c:v>16.899999999999999</c:v>
                </c:pt>
                <c:pt idx="264">
                  <c:v>16.690000000000001</c:v>
                </c:pt>
                <c:pt idx="265">
                  <c:v>18.690000000000001</c:v>
                </c:pt>
                <c:pt idx="266">
                  <c:v>15.69</c:v>
                </c:pt>
                <c:pt idx="267">
                  <c:v>15.92</c:v>
                </c:pt>
                <c:pt idx="268">
                  <c:v>16.579999999999998</c:v>
                </c:pt>
                <c:pt idx="269">
                  <c:v>18.11</c:v>
                </c:pt>
                <c:pt idx="270">
                  <c:v>16.760000000000002</c:v>
                </c:pt>
                <c:pt idx="271">
                  <c:v>17.21</c:v>
                </c:pt>
                <c:pt idx="272">
                  <c:v>19.64</c:v>
                </c:pt>
                <c:pt idx="273">
                  <c:v>16.98</c:v>
                </c:pt>
                <c:pt idx="274">
                  <c:v>18.579999999999998</c:v>
                </c:pt>
                <c:pt idx="275">
                  <c:v>17.66</c:v>
                </c:pt>
                <c:pt idx="276">
                  <c:v>16.91</c:v>
                </c:pt>
                <c:pt idx="277">
                  <c:v>16.05</c:v>
                </c:pt>
                <c:pt idx="278">
                  <c:v>17.97</c:v>
                </c:pt>
                <c:pt idx="279">
                  <c:v>17.47</c:v>
                </c:pt>
                <c:pt idx="280">
                  <c:v>18.53</c:v>
                </c:pt>
                <c:pt idx="281">
                  <c:v>18.29</c:v>
                </c:pt>
                <c:pt idx="282">
                  <c:v>18.05</c:v>
                </c:pt>
                <c:pt idx="283">
                  <c:v>16.52</c:v>
                </c:pt>
                <c:pt idx="284">
                  <c:v>15.58</c:v>
                </c:pt>
                <c:pt idx="285">
                  <c:v>16.04</c:v>
                </c:pt>
                <c:pt idx="286">
                  <c:v>15.75</c:v>
                </c:pt>
                <c:pt idx="287">
                  <c:v>19.989999999999998</c:v>
                </c:pt>
                <c:pt idx="288">
                  <c:v>15.48</c:v>
                </c:pt>
                <c:pt idx="289">
                  <c:v>15.67</c:v>
                </c:pt>
                <c:pt idx="290">
                  <c:v>15.55</c:v>
                </c:pt>
                <c:pt idx="291">
                  <c:v>16.899999999999999</c:v>
                </c:pt>
                <c:pt idx="292">
                  <c:v>14.88</c:v>
                </c:pt>
                <c:pt idx="293">
                  <c:v>17.84</c:v>
                </c:pt>
                <c:pt idx="294">
                  <c:v>17</c:v>
                </c:pt>
                <c:pt idx="295">
                  <c:v>17.690000000000001</c:v>
                </c:pt>
                <c:pt idx="296">
                  <c:v>16.309999999999999</c:v>
                </c:pt>
                <c:pt idx="297">
                  <c:v>16.670000000000002</c:v>
                </c:pt>
                <c:pt idx="298">
                  <c:v>15.47</c:v>
                </c:pt>
                <c:pt idx="299">
                  <c:v>16.170000000000002</c:v>
                </c:pt>
                <c:pt idx="300">
                  <c:v>16.91</c:v>
                </c:pt>
                <c:pt idx="301">
                  <c:v>16.36</c:v>
                </c:pt>
                <c:pt idx="302">
                  <c:v>16.8</c:v>
                </c:pt>
                <c:pt idx="303">
                  <c:v>16.12</c:v>
                </c:pt>
                <c:pt idx="304">
                  <c:v>15.77</c:v>
                </c:pt>
                <c:pt idx="305">
                  <c:v>15.72</c:v>
                </c:pt>
                <c:pt idx="306">
                  <c:v>16.739999999999998</c:v>
                </c:pt>
                <c:pt idx="307">
                  <c:v>15.73</c:v>
                </c:pt>
                <c:pt idx="308">
                  <c:v>16.82</c:v>
                </c:pt>
                <c:pt idx="309">
                  <c:v>15.92</c:v>
                </c:pt>
                <c:pt idx="310">
                  <c:v>17.170000000000002</c:v>
                </c:pt>
                <c:pt idx="311">
                  <c:v>16.11</c:v>
                </c:pt>
                <c:pt idx="312">
                  <c:v>17.23</c:v>
                </c:pt>
                <c:pt idx="313">
                  <c:v>17.68</c:v>
                </c:pt>
                <c:pt idx="314">
                  <c:v>19.02</c:v>
                </c:pt>
                <c:pt idx="315">
                  <c:v>18.77</c:v>
                </c:pt>
                <c:pt idx="316">
                  <c:v>16.37</c:v>
                </c:pt>
                <c:pt idx="317">
                  <c:v>18.29</c:v>
                </c:pt>
                <c:pt idx="318">
                  <c:v>18.09</c:v>
                </c:pt>
                <c:pt idx="319">
                  <c:v>17.149999999999999</c:v>
                </c:pt>
                <c:pt idx="320">
                  <c:v>18.440000000000001</c:v>
                </c:pt>
                <c:pt idx="321">
                  <c:v>18.13</c:v>
                </c:pt>
                <c:pt idx="322">
                  <c:v>18.399999999999999</c:v>
                </c:pt>
                <c:pt idx="323">
                  <c:v>17.46</c:v>
                </c:pt>
                <c:pt idx="324">
                  <c:v>17.59</c:v>
                </c:pt>
                <c:pt idx="325">
                  <c:v>18.45</c:v>
                </c:pt>
                <c:pt idx="326">
                  <c:v>17.579999999999998</c:v>
                </c:pt>
                <c:pt idx="327">
                  <c:v>18.95</c:v>
                </c:pt>
                <c:pt idx="328">
                  <c:v>19.11</c:v>
                </c:pt>
                <c:pt idx="329">
                  <c:v>18.91</c:v>
                </c:pt>
                <c:pt idx="330">
                  <c:v>17.84</c:v>
                </c:pt>
                <c:pt idx="331">
                  <c:v>20.170000000000002</c:v>
                </c:pt>
                <c:pt idx="332">
                  <c:v>19.07</c:v>
                </c:pt>
                <c:pt idx="333">
                  <c:v>19.899999999999999</c:v>
                </c:pt>
                <c:pt idx="334">
                  <c:v>20.46</c:v>
                </c:pt>
                <c:pt idx="335">
                  <c:v>20.75</c:v>
                </c:pt>
                <c:pt idx="336">
                  <c:v>20.12</c:v>
                </c:pt>
                <c:pt idx="337">
                  <c:v>20.84</c:v>
                </c:pt>
                <c:pt idx="338">
                  <c:v>21.76</c:v>
                </c:pt>
                <c:pt idx="339">
                  <c:v>21.04</c:v>
                </c:pt>
                <c:pt idx="340">
                  <c:v>20.99</c:v>
                </c:pt>
                <c:pt idx="341">
                  <c:v>21.6</c:v>
                </c:pt>
                <c:pt idx="342">
                  <c:v>22.49</c:v>
                </c:pt>
                <c:pt idx="343">
                  <c:v>22.54</c:v>
                </c:pt>
                <c:pt idx="344">
                  <c:v>21.78</c:v>
                </c:pt>
                <c:pt idx="345">
                  <c:v>22.54</c:v>
                </c:pt>
                <c:pt idx="346">
                  <c:v>23.25</c:v>
                </c:pt>
                <c:pt idx="347">
                  <c:v>22.62</c:v>
                </c:pt>
                <c:pt idx="348">
                  <c:v>22.7</c:v>
                </c:pt>
                <c:pt idx="349">
                  <c:v>22.98</c:v>
                </c:pt>
                <c:pt idx="350">
                  <c:v>22.9</c:v>
                </c:pt>
                <c:pt idx="351">
                  <c:v>25.51</c:v>
                </c:pt>
                <c:pt idx="352">
                  <c:v>23.99</c:v>
                </c:pt>
                <c:pt idx="353">
                  <c:v>23.23</c:v>
                </c:pt>
                <c:pt idx="354">
                  <c:v>24.44</c:v>
                </c:pt>
                <c:pt idx="355">
                  <c:v>23.85</c:v>
                </c:pt>
                <c:pt idx="356">
                  <c:v>28.26</c:v>
                </c:pt>
                <c:pt idx="357">
                  <c:v>23.67</c:v>
                </c:pt>
                <c:pt idx="358">
                  <c:v>23.38</c:v>
                </c:pt>
                <c:pt idx="359">
                  <c:v>23.27</c:v>
                </c:pt>
                <c:pt idx="360">
                  <c:v>24.09</c:v>
                </c:pt>
                <c:pt idx="361">
                  <c:v>26.37</c:v>
                </c:pt>
                <c:pt idx="362">
                  <c:v>23.73</c:v>
                </c:pt>
                <c:pt idx="363">
                  <c:v>24.91</c:v>
                </c:pt>
                <c:pt idx="364">
                  <c:v>29.19</c:v>
                </c:pt>
                <c:pt idx="365">
                  <c:v>24.81</c:v>
                </c:pt>
                <c:pt idx="366">
                  <c:v>27.08</c:v>
                </c:pt>
                <c:pt idx="367">
                  <c:v>27.37</c:v>
                </c:pt>
                <c:pt idx="368">
                  <c:v>26.54</c:v>
                </c:pt>
                <c:pt idx="369">
                  <c:v>26.37</c:v>
                </c:pt>
                <c:pt idx="370">
                  <c:v>25.7</c:v>
                </c:pt>
                <c:pt idx="371">
                  <c:v>29.74</c:v>
                </c:pt>
                <c:pt idx="372">
                  <c:v>26.71</c:v>
                </c:pt>
                <c:pt idx="373">
                  <c:v>27.41</c:v>
                </c:pt>
                <c:pt idx="374">
                  <c:v>28.05</c:v>
                </c:pt>
                <c:pt idx="375">
                  <c:v>26.53</c:v>
                </c:pt>
                <c:pt idx="376">
                  <c:v>28.15</c:v>
                </c:pt>
                <c:pt idx="377">
                  <c:v>29.65</c:v>
                </c:pt>
                <c:pt idx="378">
                  <c:v>29.85</c:v>
                </c:pt>
                <c:pt idx="379">
                  <c:v>29.14</c:v>
                </c:pt>
                <c:pt idx="380">
                  <c:v>28.69</c:v>
                </c:pt>
                <c:pt idx="381">
                  <c:v>30.77</c:v>
                </c:pt>
                <c:pt idx="382">
                  <c:v>31.63</c:v>
                </c:pt>
                <c:pt idx="383">
                  <c:v>31.9</c:v>
                </c:pt>
                <c:pt idx="384">
                  <c:v>28.84</c:v>
                </c:pt>
                <c:pt idx="385">
                  <c:v>30.69</c:v>
                </c:pt>
                <c:pt idx="386">
                  <c:v>32.32</c:v>
                </c:pt>
                <c:pt idx="387">
                  <c:v>30.73</c:v>
                </c:pt>
                <c:pt idx="388">
                  <c:v>31.56</c:v>
                </c:pt>
                <c:pt idx="389">
                  <c:v>29.71</c:v>
                </c:pt>
                <c:pt idx="390">
                  <c:v>30.89</c:v>
                </c:pt>
                <c:pt idx="391">
                  <c:v>32.549999999999997</c:v>
                </c:pt>
                <c:pt idx="392">
                  <c:v>31.08</c:v>
                </c:pt>
                <c:pt idx="393">
                  <c:v>27.94</c:v>
                </c:pt>
                <c:pt idx="394">
                  <c:v>29.78</c:v>
                </c:pt>
                <c:pt idx="395">
                  <c:v>29.75</c:v>
                </c:pt>
                <c:pt idx="396">
                  <c:v>29.72</c:v>
                </c:pt>
                <c:pt idx="397">
                  <c:v>25.31</c:v>
                </c:pt>
                <c:pt idx="398">
                  <c:v>27.92</c:v>
                </c:pt>
                <c:pt idx="399">
                  <c:v>27.2</c:v>
                </c:pt>
                <c:pt idx="400">
                  <c:v>28.59</c:v>
                </c:pt>
                <c:pt idx="401">
                  <c:v>25.73</c:v>
                </c:pt>
                <c:pt idx="402">
                  <c:v>26.08</c:v>
                </c:pt>
                <c:pt idx="403">
                  <c:v>26.26</c:v>
                </c:pt>
                <c:pt idx="404">
                  <c:v>26.27</c:v>
                </c:pt>
                <c:pt idx="405">
                  <c:v>27.87</c:v>
                </c:pt>
                <c:pt idx="406">
                  <c:v>25.65</c:v>
                </c:pt>
                <c:pt idx="407">
                  <c:v>29.72</c:v>
                </c:pt>
                <c:pt idx="408">
                  <c:v>25.86</c:v>
                </c:pt>
                <c:pt idx="409">
                  <c:v>26.27</c:v>
                </c:pt>
                <c:pt idx="410">
                  <c:v>25.45</c:v>
                </c:pt>
                <c:pt idx="411">
                  <c:v>28.44</c:v>
                </c:pt>
                <c:pt idx="412">
                  <c:v>25.41</c:v>
                </c:pt>
                <c:pt idx="413">
                  <c:v>26.03</c:v>
                </c:pt>
                <c:pt idx="414">
                  <c:v>25.94</c:v>
                </c:pt>
                <c:pt idx="415">
                  <c:v>25.87</c:v>
                </c:pt>
                <c:pt idx="416">
                  <c:v>27.2</c:v>
                </c:pt>
                <c:pt idx="417">
                  <c:v>30.25</c:v>
                </c:pt>
                <c:pt idx="418">
                  <c:v>27.39</c:v>
                </c:pt>
                <c:pt idx="419">
                  <c:v>29.66</c:v>
                </c:pt>
                <c:pt idx="420">
                  <c:v>29.4</c:v>
                </c:pt>
                <c:pt idx="421">
                  <c:v>30.06</c:v>
                </c:pt>
                <c:pt idx="422">
                  <c:v>27.71</c:v>
                </c:pt>
                <c:pt idx="423">
                  <c:v>28.47</c:v>
                </c:pt>
                <c:pt idx="424">
                  <c:v>29.8</c:v>
                </c:pt>
                <c:pt idx="425">
                  <c:v>28.3</c:v>
                </c:pt>
                <c:pt idx="426">
                  <c:v>29.14</c:v>
                </c:pt>
                <c:pt idx="427">
                  <c:v>29.67</c:v>
                </c:pt>
                <c:pt idx="428">
                  <c:v>27.98</c:v>
                </c:pt>
                <c:pt idx="429">
                  <c:v>27.03</c:v>
                </c:pt>
                <c:pt idx="430">
                  <c:v>29.01</c:v>
                </c:pt>
                <c:pt idx="431">
                  <c:v>29.02</c:v>
                </c:pt>
                <c:pt idx="432">
                  <c:v>30.07</c:v>
                </c:pt>
                <c:pt idx="433">
                  <c:v>25.45</c:v>
                </c:pt>
                <c:pt idx="434">
                  <c:v>29.47</c:v>
                </c:pt>
                <c:pt idx="435">
                  <c:v>28.47</c:v>
                </c:pt>
                <c:pt idx="436">
                  <c:v>30.01</c:v>
                </c:pt>
                <c:pt idx="437">
                  <c:v>30.44</c:v>
                </c:pt>
                <c:pt idx="439">
                  <c:v>26.26</c:v>
                </c:pt>
                <c:pt idx="440">
                  <c:v>25.32</c:v>
                </c:pt>
                <c:pt idx="441">
                  <c:v>25.5</c:v>
                </c:pt>
                <c:pt idx="442">
                  <c:v>25.31</c:v>
                </c:pt>
                <c:pt idx="443">
                  <c:v>27.97</c:v>
                </c:pt>
                <c:pt idx="444">
                  <c:v>26.35</c:v>
                </c:pt>
                <c:pt idx="445">
                  <c:v>25.03</c:v>
                </c:pt>
                <c:pt idx="446">
                  <c:v>26.91</c:v>
                </c:pt>
                <c:pt idx="447">
                  <c:v>24.57</c:v>
                </c:pt>
                <c:pt idx="448">
                  <c:v>26.98</c:v>
                </c:pt>
                <c:pt idx="449">
                  <c:v>24.62</c:v>
                </c:pt>
                <c:pt idx="450">
                  <c:v>23.58</c:v>
                </c:pt>
                <c:pt idx="451">
                  <c:v>23.92</c:v>
                </c:pt>
                <c:pt idx="452">
                  <c:v>24.12</c:v>
                </c:pt>
                <c:pt idx="453">
                  <c:v>24.88</c:v>
                </c:pt>
                <c:pt idx="454">
                  <c:v>21.99</c:v>
                </c:pt>
                <c:pt idx="455">
                  <c:v>25.26</c:v>
                </c:pt>
                <c:pt idx="456">
                  <c:v>24.19</c:v>
                </c:pt>
                <c:pt idx="457">
                  <c:v>22.4</c:v>
                </c:pt>
                <c:pt idx="458">
                  <c:v>23.06</c:v>
                </c:pt>
                <c:pt idx="459">
                  <c:v>23.37</c:v>
                </c:pt>
                <c:pt idx="460">
                  <c:v>24.93</c:v>
                </c:pt>
                <c:pt idx="461">
                  <c:v>24.25</c:v>
                </c:pt>
                <c:pt idx="462">
                  <c:v>23.83</c:v>
                </c:pt>
                <c:pt idx="463">
                  <c:v>22.93</c:v>
                </c:pt>
                <c:pt idx="464">
                  <c:v>22.81</c:v>
                </c:pt>
                <c:pt idx="465">
                  <c:v>26.2</c:v>
                </c:pt>
                <c:pt idx="466">
                  <c:v>24.69</c:v>
                </c:pt>
                <c:pt idx="467">
                  <c:v>25.13</c:v>
                </c:pt>
                <c:pt idx="468">
                  <c:v>25.93</c:v>
                </c:pt>
                <c:pt idx="469">
                  <c:v>26.07</c:v>
                </c:pt>
                <c:pt idx="470">
                  <c:v>25.27</c:v>
                </c:pt>
                <c:pt idx="471">
                  <c:v>23.26</c:v>
                </c:pt>
                <c:pt idx="472">
                  <c:v>24.77</c:v>
                </c:pt>
                <c:pt idx="473">
                  <c:v>24.13</c:v>
                </c:pt>
                <c:pt idx="474">
                  <c:v>25.47</c:v>
                </c:pt>
                <c:pt idx="475">
                  <c:v>25.14</c:v>
                </c:pt>
                <c:pt idx="476">
                  <c:v>26.82</c:v>
                </c:pt>
                <c:pt idx="477">
                  <c:v>26.02</c:v>
                </c:pt>
                <c:pt idx="478">
                  <c:v>25.61</c:v>
                </c:pt>
                <c:pt idx="479">
                  <c:v>25.04</c:v>
                </c:pt>
                <c:pt idx="480">
                  <c:v>25</c:v>
                </c:pt>
                <c:pt idx="481">
                  <c:v>25.38</c:v>
                </c:pt>
                <c:pt idx="482">
                  <c:v>25.3</c:v>
                </c:pt>
                <c:pt idx="483">
                  <c:v>24.79</c:v>
                </c:pt>
                <c:pt idx="495">
                  <c:v>28.59</c:v>
                </c:pt>
                <c:pt idx="496">
                  <c:v>25.35</c:v>
                </c:pt>
                <c:pt idx="497">
                  <c:v>25.28</c:v>
                </c:pt>
                <c:pt idx="498">
                  <c:v>24.78</c:v>
                </c:pt>
                <c:pt idx="499">
                  <c:v>24.02</c:v>
                </c:pt>
                <c:pt idx="500">
                  <c:v>23.16</c:v>
                </c:pt>
                <c:pt idx="501">
                  <c:v>23.16</c:v>
                </c:pt>
                <c:pt idx="502">
                  <c:v>22.77</c:v>
                </c:pt>
                <c:pt idx="503">
                  <c:v>23.87</c:v>
                </c:pt>
                <c:pt idx="504">
                  <c:v>22.56</c:v>
                </c:pt>
                <c:pt idx="505">
                  <c:v>24.3</c:v>
                </c:pt>
                <c:pt idx="506">
                  <c:v>24.99</c:v>
                </c:pt>
                <c:pt idx="507">
                  <c:v>25.06</c:v>
                </c:pt>
                <c:pt idx="508">
                  <c:v>24.48</c:v>
                </c:pt>
                <c:pt idx="509">
                  <c:v>23.8</c:v>
                </c:pt>
                <c:pt idx="510">
                  <c:v>25.8</c:v>
                </c:pt>
                <c:pt idx="511">
                  <c:v>23.03</c:v>
                </c:pt>
                <c:pt idx="512">
                  <c:v>23.14</c:v>
                </c:pt>
                <c:pt idx="513">
                  <c:v>24.01</c:v>
                </c:pt>
                <c:pt idx="514">
                  <c:v>23.91</c:v>
                </c:pt>
                <c:pt idx="515">
                  <c:v>26.49</c:v>
                </c:pt>
                <c:pt idx="516">
                  <c:v>28.35</c:v>
                </c:pt>
                <c:pt idx="517">
                  <c:v>24.27</c:v>
                </c:pt>
                <c:pt idx="518">
                  <c:v>24.27</c:v>
                </c:pt>
                <c:pt idx="519">
                  <c:v>27.34</c:v>
                </c:pt>
                <c:pt idx="520">
                  <c:v>28.08</c:v>
                </c:pt>
                <c:pt idx="521">
                  <c:v>25.57</c:v>
                </c:pt>
                <c:pt idx="522">
                  <c:v>27.09</c:v>
                </c:pt>
                <c:pt idx="523">
                  <c:v>30.88</c:v>
                </c:pt>
                <c:pt idx="524">
                  <c:v>28.04</c:v>
                </c:pt>
                <c:pt idx="525">
                  <c:v>27.92</c:v>
                </c:pt>
                <c:pt idx="526">
                  <c:v>29.67</c:v>
                </c:pt>
                <c:pt idx="527">
                  <c:v>28.86</c:v>
                </c:pt>
                <c:pt idx="528">
                  <c:v>30.32</c:v>
                </c:pt>
                <c:pt idx="529">
                  <c:v>29.27</c:v>
                </c:pt>
                <c:pt idx="530">
                  <c:v>27.92</c:v>
                </c:pt>
                <c:pt idx="531">
                  <c:v>29.12</c:v>
                </c:pt>
                <c:pt idx="532">
                  <c:v>28.16</c:v>
                </c:pt>
                <c:pt idx="533">
                  <c:v>32.36</c:v>
                </c:pt>
                <c:pt idx="534">
                  <c:v>30.99</c:v>
                </c:pt>
                <c:pt idx="535">
                  <c:v>30.38</c:v>
                </c:pt>
                <c:pt idx="536">
                  <c:v>32.86</c:v>
                </c:pt>
                <c:pt idx="537">
                  <c:v>32.229999999999997</c:v>
                </c:pt>
                <c:pt idx="538">
                  <c:v>32.200000000000003</c:v>
                </c:pt>
                <c:pt idx="539">
                  <c:v>30.64</c:v>
                </c:pt>
                <c:pt idx="540">
                  <c:v>31.98</c:v>
                </c:pt>
                <c:pt idx="541">
                  <c:v>33.9</c:v>
                </c:pt>
                <c:pt idx="542">
                  <c:v>37.520000000000003</c:v>
                </c:pt>
                <c:pt idx="543">
                  <c:v>31.95</c:v>
                </c:pt>
                <c:pt idx="544">
                  <c:v>29.86</c:v>
                </c:pt>
                <c:pt idx="545">
                  <c:v>31.19</c:v>
                </c:pt>
                <c:pt idx="546">
                  <c:v>28.85</c:v>
                </c:pt>
                <c:pt idx="547">
                  <c:v>38.549999999999997</c:v>
                </c:pt>
                <c:pt idx="548">
                  <c:v>28.08</c:v>
                </c:pt>
                <c:pt idx="549">
                  <c:v>31.27</c:v>
                </c:pt>
                <c:pt idx="550">
                  <c:v>30.7</c:v>
                </c:pt>
                <c:pt idx="551">
                  <c:v>29.74</c:v>
                </c:pt>
                <c:pt idx="552">
                  <c:v>29.59</c:v>
                </c:pt>
                <c:pt idx="553">
                  <c:v>31</c:v>
                </c:pt>
                <c:pt idx="554">
                  <c:v>29.58</c:v>
                </c:pt>
                <c:pt idx="555">
                  <c:v>30.38</c:v>
                </c:pt>
                <c:pt idx="556">
                  <c:v>34.21</c:v>
                </c:pt>
                <c:pt idx="557">
                  <c:v>29.15</c:v>
                </c:pt>
                <c:pt idx="558">
                  <c:v>29.72</c:v>
                </c:pt>
                <c:pt idx="559">
                  <c:v>21.1</c:v>
                </c:pt>
                <c:pt idx="560">
                  <c:v>28.59</c:v>
                </c:pt>
                <c:pt idx="563">
                  <c:v>29.78</c:v>
                </c:pt>
                <c:pt idx="564">
                  <c:v>32.619999999999997</c:v>
                </c:pt>
                <c:pt idx="565">
                  <c:v>33.979999999999997</c:v>
                </c:pt>
                <c:pt idx="566">
                  <c:v>32.729999999999997</c:v>
                </c:pt>
                <c:pt idx="567">
                  <c:v>30.42</c:v>
                </c:pt>
                <c:pt idx="568">
                  <c:v>33.72</c:v>
                </c:pt>
                <c:pt idx="569">
                  <c:v>31.27</c:v>
                </c:pt>
                <c:pt idx="570">
                  <c:v>30.56</c:v>
                </c:pt>
                <c:pt idx="571">
                  <c:v>34.67</c:v>
                </c:pt>
                <c:pt idx="572">
                  <c:v>31.8</c:v>
                </c:pt>
                <c:pt idx="573">
                  <c:v>31</c:v>
                </c:pt>
                <c:pt idx="574">
                  <c:v>32.6</c:v>
                </c:pt>
                <c:pt idx="575">
                  <c:v>32.82</c:v>
                </c:pt>
                <c:pt idx="576">
                  <c:v>35.72</c:v>
                </c:pt>
                <c:pt idx="577">
                  <c:v>33.22</c:v>
                </c:pt>
                <c:pt idx="578">
                  <c:v>33.090000000000003</c:v>
                </c:pt>
                <c:pt idx="579">
                  <c:v>34.700000000000003</c:v>
                </c:pt>
                <c:pt idx="580">
                  <c:v>34.700000000000003</c:v>
                </c:pt>
                <c:pt idx="581">
                  <c:v>21.73</c:v>
                </c:pt>
                <c:pt idx="582">
                  <c:v>31.56</c:v>
                </c:pt>
                <c:pt idx="583">
                  <c:v>35.229999999999997</c:v>
                </c:pt>
                <c:pt idx="584">
                  <c:v>32.950000000000003</c:v>
                </c:pt>
                <c:pt idx="585">
                  <c:v>34.229999999999997</c:v>
                </c:pt>
                <c:pt idx="586">
                  <c:v>34.57</c:v>
                </c:pt>
                <c:pt idx="587">
                  <c:v>38.840000000000003</c:v>
                </c:pt>
                <c:pt idx="588">
                  <c:v>36.03</c:v>
                </c:pt>
                <c:pt idx="589">
                  <c:v>33.18</c:v>
                </c:pt>
                <c:pt idx="590">
                  <c:v>32.47</c:v>
                </c:pt>
                <c:pt idx="591">
                  <c:v>35.69</c:v>
                </c:pt>
                <c:pt idx="592">
                  <c:v>31.54</c:v>
                </c:pt>
                <c:pt idx="593">
                  <c:v>32.630000000000003</c:v>
                </c:pt>
                <c:pt idx="594">
                  <c:v>32.18</c:v>
                </c:pt>
                <c:pt idx="595">
                  <c:v>33.11</c:v>
                </c:pt>
                <c:pt idx="596">
                  <c:v>32.369999999999997</c:v>
                </c:pt>
                <c:pt idx="597">
                  <c:v>34.83</c:v>
                </c:pt>
                <c:pt idx="598">
                  <c:v>33.01</c:v>
                </c:pt>
                <c:pt idx="599">
                  <c:v>30.72</c:v>
                </c:pt>
                <c:pt idx="600">
                  <c:v>31.6</c:v>
                </c:pt>
                <c:pt idx="601">
                  <c:v>33.99</c:v>
                </c:pt>
                <c:pt idx="602">
                  <c:v>31.38</c:v>
                </c:pt>
                <c:pt idx="603">
                  <c:v>31.32</c:v>
                </c:pt>
                <c:pt idx="604">
                  <c:v>30.96</c:v>
                </c:pt>
                <c:pt idx="605">
                  <c:v>33.79</c:v>
                </c:pt>
                <c:pt idx="606">
                  <c:v>31.59</c:v>
                </c:pt>
                <c:pt idx="607">
                  <c:v>29.81</c:v>
                </c:pt>
                <c:pt idx="608">
                  <c:v>32.369999999999997</c:v>
                </c:pt>
                <c:pt idx="609">
                  <c:v>37.19</c:v>
                </c:pt>
                <c:pt idx="610">
                  <c:v>30.46</c:v>
                </c:pt>
                <c:pt idx="611">
                  <c:v>31.68</c:v>
                </c:pt>
                <c:pt idx="612">
                  <c:v>33.33</c:v>
                </c:pt>
                <c:pt idx="613">
                  <c:v>31.42</c:v>
                </c:pt>
                <c:pt idx="614">
                  <c:v>33.549999999999997</c:v>
                </c:pt>
                <c:pt idx="615">
                  <c:v>28.64</c:v>
                </c:pt>
                <c:pt idx="620">
                  <c:v>33.770000000000003</c:v>
                </c:pt>
                <c:pt idx="621">
                  <c:v>33.9</c:v>
                </c:pt>
                <c:pt idx="622">
                  <c:v>34</c:v>
                </c:pt>
                <c:pt idx="623">
                  <c:v>32.96</c:v>
                </c:pt>
                <c:pt idx="624">
                  <c:v>35.86</c:v>
                </c:pt>
                <c:pt idx="625">
                  <c:v>34.29</c:v>
                </c:pt>
                <c:pt idx="626">
                  <c:v>35.619999999999997</c:v>
                </c:pt>
                <c:pt idx="627">
                  <c:v>31.24</c:v>
                </c:pt>
                <c:pt idx="628">
                  <c:v>33.049999999999997</c:v>
                </c:pt>
                <c:pt idx="629">
                  <c:v>32.92</c:v>
                </c:pt>
                <c:pt idx="630">
                  <c:v>32.72</c:v>
                </c:pt>
                <c:pt idx="631">
                  <c:v>33.65</c:v>
                </c:pt>
                <c:pt idx="632">
                  <c:v>32.75</c:v>
                </c:pt>
                <c:pt idx="633">
                  <c:v>33.229999999999997</c:v>
                </c:pt>
                <c:pt idx="634">
                  <c:v>32.15</c:v>
                </c:pt>
                <c:pt idx="635">
                  <c:v>31.55</c:v>
                </c:pt>
                <c:pt idx="636">
                  <c:v>33.01</c:v>
                </c:pt>
                <c:pt idx="637">
                  <c:v>33.6</c:v>
                </c:pt>
                <c:pt idx="638">
                  <c:v>29.93</c:v>
                </c:pt>
                <c:pt idx="639">
                  <c:v>28.91</c:v>
                </c:pt>
                <c:pt idx="640">
                  <c:v>30.68</c:v>
                </c:pt>
                <c:pt idx="641">
                  <c:v>30.9</c:v>
                </c:pt>
                <c:pt idx="642">
                  <c:v>29.5</c:v>
                </c:pt>
                <c:pt idx="643">
                  <c:v>34.47</c:v>
                </c:pt>
                <c:pt idx="644">
                  <c:v>30.01</c:v>
                </c:pt>
                <c:pt idx="645">
                  <c:v>31.23</c:v>
                </c:pt>
                <c:pt idx="646">
                  <c:v>33.549999999999997</c:v>
                </c:pt>
                <c:pt idx="647">
                  <c:v>30.32</c:v>
                </c:pt>
                <c:pt idx="648">
                  <c:v>30.61</c:v>
                </c:pt>
                <c:pt idx="649">
                  <c:v>29.45</c:v>
                </c:pt>
                <c:pt idx="650">
                  <c:v>27.35</c:v>
                </c:pt>
                <c:pt idx="651">
                  <c:v>27.9</c:v>
                </c:pt>
                <c:pt idx="652">
                  <c:v>26.97</c:v>
                </c:pt>
                <c:pt idx="653">
                  <c:v>28.04</c:v>
                </c:pt>
                <c:pt idx="654">
                  <c:v>26.14</c:v>
                </c:pt>
                <c:pt idx="655">
                  <c:v>27.94</c:v>
                </c:pt>
                <c:pt idx="656">
                  <c:v>27.34</c:v>
                </c:pt>
                <c:pt idx="657">
                  <c:v>25.25</c:v>
                </c:pt>
                <c:pt idx="658">
                  <c:v>33.11</c:v>
                </c:pt>
                <c:pt idx="659">
                  <c:v>26.54</c:v>
                </c:pt>
                <c:pt idx="660">
                  <c:v>28.49</c:v>
                </c:pt>
                <c:pt idx="661">
                  <c:v>29.28</c:v>
                </c:pt>
                <c:pt idx="662">
                  <c:v>29.15</c:v>
                </c:pt>
                <c:pt idx="663">
                  <c:v>28.86</c:v>
                </c:pt>
                <c:pt idx="664">
                  <c:v>29.81</c:v>
                </c:pt>
                <c:pt idx="665">
                  <c:v>28.11</c:v>
                </c:pt>
                <c:pt idx="666">
                  <c:v>30.58</c:v>
                </c:pt>
                <c:pt idx="667">
                  <c:v>27.71</c:v>
                </c:pt>
                <c:pt idx="668">
                  <c:v>31.72</c:v>
                </c:pt>
                <c:pt idx="669">
                  <c:v>28.19</c:v>
                </c:pt>
                <c:pt idx="670">
                  <c:v>31</c:v>
                </c:pt>
                <c:pt idx="671">
                  <c:v>29.04</c:v>
                </c:pt>
                <c:pt idx="672">
                  <c:v>31.35</c:v>
                </c:pt>
                <c:pt idx="673">
                  <c:v>29.13</c:v>
                </c:pt>
                <c:pt idx="674">
                  <c:v>28.92</c:v>
                </c:pt>
                <c:pt idx="675">
                  <c:v>32.049999999999997</c:v>
                </c:pt>
                <c:pt idx="676">
                  <c:v>29.2</c:v>
                </c:pt>
                <c:pt idx="677">
                  <c:v>29.69</c:v>
                </c:pt>
                <c:pt idx="678">
                  <c:v>31.53</c:v>
                </c:pt>
                <c:pt idx="679">
                  <c:v>29.71</c:v>
                </c:pt>
                <c:pt idx="680">
                  <c:v>33.9</c:v>
                </c:pt>
                <c:pt idx="681">
                  <c:v>32.39</c:v>
                </c:pt>
                <c:pt idx="682">
                  <c:v>29.67</c:v>
                </c:pt>
                <c:pt idx="683">
                  <c:v>30.49</c:v>
                </c:pt>
                <c:pt idx="684">
                  <c:v>32.78</c:v>
                </c:pt>
                <c:pt idx="685">
                  <c:v>34.33</c:v>
                </c:pt>
                <c:pt idx="686">
                  <c:v>30.25</c:v>
                </c:pt>
                <c:pt idx="687">
                  <c:v>32.36</c:v>
                </c:pt>
                <c:pt idx="688">
                  <c:v>31.13</c:v>
                </c:pt>
                <c:pt idx="689">
                  <c:v>32.07</c:v>
                </c:pt>
                <c:pt idx="690">
                  <c:v>30.72</c:v>
                </c:pt>
                <c:pt idx="691">
                  <c:v>29.83</c:v>
                </c:pt>
                <c:pt idx="692">
                  <c:v>29.41</c:v>
                </c:pt>
                <c:pt idx="693">
                  <c:v>28.41</c:v>
                </c:pt>
                <c:pt idx="694">
                  <c:v>25.08</c:v>
                </c:pt>
                <c:pt idx="695">
                  <c:v>25.65</c:v>
                </c:pt>
                <c:pt idx="696">
                  <c:v>25.27</c:v>
                </c:pt>
                <c:pt idx="697">
                  <c:v>26.18</c:v>
                </c:pt>
                <c:pt idx="698">
                  <c:v>27.06</c:v>
                </c:pt>
                <c:pt idx="699">
                  <c:v>25.55</c:v>
                </c:pt>
                <c:pt idx="700">
                  <c:v>26.8</c:v>
                </c:pt>
                <c:pt idx="701">
                  <c:v>26.39</c:v>
                </c:pt>
                <c:pt idx="702">
                  <c:v>26.85</c:v>
                </c:pt>
                <c:pt idx="703">
                  <c:v>26.55</c:v>
                </c:pt>
                <c:pt idx="704">
                  <c:v>31.15</c:v>
                </c:pt>
                <c:pt idx="705">
                  <c:v>26.69</c:v>
                </c:pt>
                <c:pt idx="706">
                  <c:v>27.03</c:v>
                </c:pt>
                <c:pt idx="707">
                  <c:v>23.67</c:v>
                </c:pt>
                <c:pt idx="708">
                  <c:v>25.75</c:v>
                </c:pt>
                <c:pt idx="709">
                  <c:v>26.77</c:v>
                </c:pt>
                <c:pt idx="710">
                  <c:v>27.81</c:v>
                </c:pt>
                <c:pt idx="711">
                  <c:v>27.42</c:v>
                </c:pt>
                <c:pt idx="712">
                  <c:v>30.05</c:v>
                </c:pt>
                <c:pt idx="713">
                  <c:v>29.63</c:v>
                </c:pt>
                <c:pt idx="714">
                  <c:v>29.38</c:v>
                </c:pt>
                <c:pt idx="715">
                  <c:v>32.54</c:v>
                </c:pt>
                <c:pt idx="716">
                  <c:v>27.24</c:v>
                </c:pt>
                <c:pt idx="717">
                  <c:v>30.12</c:v>
                </c:pt>
                <c:pt idx="718">
                  <c:v>26.1</c:v>
                </c:pt>
                <c:pt idx="719">
                  <c:v>26.51</c:v>
                </c:pt>
                <c:pt idx="720">
                  <c:v>27.77</c:v>
                </c:pt>
                <c:pt idx="721">
                  <c:v>28.54</c:v>
                </c:pt>
                <c:pt idx="722">
                  <c:v>30.04</c:v>
                </c:pt>
                <c:pt idx="723">
                  <c:v>26.55</c:v>
                </c:pt>
                <c:pt idx="724">
                  <c:v>29.36</c:v>
                </c:pt>
                <c:pt idx="725">
                  <c:v>26.93</c:v>
                </c:pt>
                <c:pt idx="726">
                  <c:v>32.81</c:v>
                </c:pt>
                <c:pt idx="727">
                  <c:v>28.22</c:v>
                </c:pt>
                <c:pt idx="728">
                  <c:v>28.39</c:v>
                </c:pt>
                <c:pt idx="729">
                  <c:v>28.55</c:v>
                </c:pt>
                <c:pt idx="730">
                  <c:v>26.87</c:v>
                </c:pt>
                <c:pt idx="731">
                  <c:v>33.15</c:v>
                </c:pt>
                <c:pt idx="732">
                  <c:v>30.16</c:v>
                </c:pt>
                <c:pt idx="733">
                  <c:v>29.77</c:v>
                </c:pt>
                <c:pt idx="734">
                  <c:v>31.24</c:v>
                </c:pt>
                <c:pt idx="735">
                  <c:v>30.76</c:v>
                </c:pt>
                <c:pt idx="736">
                  <c:v>32.82</c:v>
                </c:pt>
                <c:pt idx="737">
                  <c:v>32.74</c:v>
                </c:pt>
                <c:pt idx="738">
                  <c:v>28.58</c:v>
                </c:pt>
                <c:pt idx="739">
                  <c:v>29.14</c:v>
                </c:pt>
                <c:pt idx="740">
                  <c:v>29.07</c:v>
                </c:pt>
                <c:pt idx="741">
                  <c:v>31.64</c:v>
                </c:pt>
                <c:pt idx="742">
                  <c:v>30.02</c:v>
                </c:pt>
                <c:pt idx="743">
                  <c:v>27.03</c:v>
                </c:pt>
                <c:pt idx="744">
                  <c:v>29.88</c:v>
                </c:pt>
                <c:pt idx="745">
                  <c:v>29.63</c:v>
                </c:pt>
                <c:pt idx="746">
                  <c:v>27.85</c:v>
                </c:pt>
                <c:pt idx="747">
                  <c:v>29.73</c:v>
                </c:pt>
                <c:pt idx="748">
                  <c:v>27.97</c:v>
                </c:pt>
                <c:pt idx="750">
                  <c:v>32.04</c:v>
                </c:pt>
                <c:pt idx="751">
                  <c:v>29.15</c:v>
                </c:pt>
                <c:pt idx="752">
                  <c:v>30.7</c:v>
                </c:pt>
                <c:pt idx="753">
                  <c:v>32</c:v>
                </c:pt>
                <c:pt idx="754">
                  <c:v>31.54</c:v>
                </c:pt>
                <c:pt idx="755">
                  <c:v>31.25</c:v>
                </c:pt>
                <c:pt idx="756">
                  <c:v>31.83</c:v>
                </c:pt>
                <c:pt idx="757">
                  <c:v>29.23</c:v>
                </c:pt>
                <c:pt idx="758">
                  <c:v>31.68</c:v>
                </c:pt>
                <c:pt idx="759">
                  <c:v>30.26</c:v>
                </c:pt>
                <c:pt idx="760">
                  <c:v>32.35</c:v>
                </c:pt>
                <c:pt idx="761">
                  <c:v>31.32</c:v>
                </c:pt>
                <c:pt idx="762">
                  <c:v>31.14</c:v>
                </c:pt>
                <c:pt idx="763">
                  <c:v>32.79</c:v>
                </c:pt>
                <c:pt idx="764">
                  <c:v>31.49</c:v>
                </c:pt>
                <c:pt idx="765">
                  <c:v>36.75</c:v>
                </c:pt>
                <c:pt idx="766">
                  <c:v>36.42</c:v>
                </c:pt>
                <c:pt idx="767">
                  <c:v>34.03</c:v>
                </c:pt>
                <c:pt idx="768">
                  <c:v>34.46</c:v>
                </c:pt>
                <c:pt idx="769">
                  <c:v>37.9</c:v>
                </c:pt>
                <c:pt idx="770">
                  <c:v>35.840000000000003</c:v>
                </c:pt>
                <c:pt idx="771">
                  <c:v>35.61</c:v>
                </c:pt>
                <c:pt idx="772">
                  <c:v>35.29</c:v>
                </c:pt>
                <c:pt idx="773">
                  <c:v>35</c:v>
                </c:pt>
                <c:pt idx="774">
                  <c:v>38.49</c:v>
                </c:pt>
                <c:pt idx="775">
                  <c:v>36.79</c:v>
                </c:pt>
                <c:pt idx="776">
                  <c:v>37.450000000000003</c:v>
                </c:pt>
                <c:pt idx="777">
                  <c:v>37.97</c:v>
                </c:pt>
                <c:pt idx="778">
                  <c:v>38.06</c:v>
                </c:pt>
                <c:pt idx="779">
                  <c:v>36.200000000000003</c:v>
                </c:pt>
                <c:pt idx="780">
                  <c:v>41.38</c:v>
                </c:pt>
                <c:pt idx="781">
                  <c:v>33.25</c:v>
                </c:pt>
                <c:pt idx="782">
                  <c:v>37.08</c:v>
                </c:pt>
                <c:pt idx="783">
                  <c:v>31.65</c:v>
                </c:pt>
                <c:pt idx="784">
                  <c:v>35.340000000000003</c:v>
                </c:pt>
                <c:pt idx="785">
                  <c:v>35.479999999999997</c:v>
                </c:pt>
                <c:pt idx="786">
                  <c:v>36.49</c:v>
                </c:pt>
                <c:pt idx="787">
                  <c:v>34.049999999999997</c:v>
                </c:pt>
                <c:pt idx="788">
                  <c:v>34.049999999999997</c:v>
                </c:pt>
                <c:pt idx="789">
                  <c:v>35.32</c:v>
                </c:pt>
                <c:pt idx="790">
                  <c:v>34.159999999999997</c:v>
                </c:pt>
                <c:pt idx="791">
                  <c:v>35.380000000000003</c:v>
                </c:pt>
                <c:pt idx="792">
                  <c:v>35.89</c:v>
                </c:pt>
                <c:pt idx="793">
                  <c:v>39.090000000000003</c:v>
                </c:pt>
                <c:pt idx="794">
                  <c:v>35.369999999999997</c:v>
                </c:pt>
                <c:pt idx="795">
                  <c:v>35.21</c:v>
                </c:pt>
                <c:pt idx="796">
                  <c:v>32.79</c:v>
                </c:pt>
                <c:pt idx="797">
                  <c:v>35.6</c:v>
                </c:pt>
                <c:pt idx="798">
                  <c:v>37.1</c:v>
                </c:pt>
                <c:pt idx="799">
                  <c:v>35.61</c:v>
                </c:pt>
                <c:pt idx="800">
                  <c:v>37.79</c:v>
                </c:pt>
                <c:pt idx="801">
                  <c:v>34.659999999999997</c:v>
                </c:pt>
                <c:pt idx="802">
                  <c:v>35.75</c:v>
                </c:pt>
                <c:pt idx="803">
                  <c:v>36.130000000000003</c:v>
                </c:pt>
                <c:pt idx="804">
                  <c:v>35.57</c:v>
                </c:pt>
                <c:pt idx="805" formatCode="General">
                  <c:v>38.15</c:v>
                </c:pt>
                <c:pt idx="806" formatCode="General">
                  <c:v>35.5</c:v>
                </c:pt>
                <c:pt idx="807" formatCode="General">
                  <c:v>39.619999999999997</c:v>
                </c:pt>
              </c:numCache>
            </c:numRef>
          </c:val>
          <c:smooth val="0"/>
          <c:extLst>
            <c:ext xmlns:c16="http://schemas.microsoft.com/office/drawing/2014/chart" uri="{C3380CC4-5D6E-409C-BE32-E72D297353CC}">
              <c16:uniqueId val="{00000000-0326-4283-896C-13C64D1A1B4F}"/>
            </c:ext>
          </c:extLst>
        </c:ser>
        <c:dLbls>
          <c:showLegendKey val="0"/>
          <c:showVal val="0"/>
          <c:showCatName val="0"/>
          <c:showSerName val="0"/>
          <c:showPercent val="0"/>
          <c:showBubbleSize val="0"/>
        </c:dLbls>
        <c:smooth val="0"/>
        <c:axId val="2063501424"/>
        <c:axId val="1"/>
      </c:lineChart>
      <c:catAx>
        <c:axId val="20635014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50142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 in calf</a:t>
            </a:r>
          </a:p>
        </c:rich>
      </c:tx>
      <c:overlay val="0"/>
    </c:title>
    <c:autoTitleDeleted val="0"/>
    <c:plotArea>
      <c:layout/>
      <c:lineChart>
        <c:grouping val="standard"/>
        <c:varyColors val="0"/>
        <c:ser>
          <c:idx val="6"/>
          <c:order val="0"/>
          <c:tx>
            <c:strRef>
              <c:f>Summary!$K$3</c:f>
              <c:strCache>
                <c:ptCount val="1"/>
                <c:pt idx="0">
                  <c:v>Heifers in Calf</c:v>
                </c:pt>
              </c:strCache>
            </c:strRef>
          </c:tx>
          <c:spPr>
            <a:ln w="12700">
              <a:solidFill>
                <a:schemeClr val="tx1"/>
              </a:solidFill>
            </a:ln>
          </c:spPr>
          <c:marker>
            <c:symbol val="none"/>
          </c:marker>
          <c:cat>
            <c:numRef>
              <c:f>Summary!$B$4:$B$849</c:f>
              <c:numCache>
                <c:formatCode>General</c:formatCode>
                <c:ptCount val="846"/>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K$4:$K$849</c:f>
              <c:numCache>
                <c:formatCode>0.00</c:formatCode>
                <c:ptCount val="846"/>
                <c:pt idx="0">
                  <c:v>12.73</c:v>
                </c:pt>
                <c:pt idx="1">
                  <c:v>8.83</c:v>
                </c:pt>
                <c:pt idx="3">
                  <c:v>13.33</c:v>
                </c:pt>
                <c:pt idx="5">
                  <c:v>10.5</c:v>
                </c:pt>
                <c:pt idx="7">
                  <c:v>11.45</c:v>
                </c:pt>
                <c:pt idx="8">
                  <c:v>15.89</c:v>
                </c:pt>
                <c:pt idx="10">
                  <c:v>14.15</c:v>
                </c:pt>
                <c:pt idx="13">
                  <c:v>14.11</c:v>
                </c:pt>
                <c:pt idx="15">
                  <c:v>15.31</c:v>
                </c:pt>
                <c:pt idx="16">
                  <c:v>13.87</c:v>
                </c:pt>
                <c:pt idx="20">
                  <c:v>15.76</c:v>
                </c:pt>
                <c:pt idx="21">
                  <c:v>11.76</c:v>
                </c:pt>
                <c:pt idx="24">
                  <c:v>10</c:v>
                </c:pt>
                <c:pt idx="31">
                  <c:v>12.34</c:v>
                </c:pt>
                <c:pt idx="33">
                  <c:v>12.12</c:v>
                </c:pt>
                <c:pt idx="36">
                  <c:v>13.4</c:v>
                </c:pt>
                <c:pt idx="38">
                  <c:v>12.34</c:v>
                </c:pt>
                <c:pt idx="43">
                  <c:v>15.46</c:v>
                </c:pt>
                <c:pt idx="45">
                  <c:v>15.78</c:v>
                </c:pt>
                <c:pt idx="47">
                  <c:v>19.05</c:v>
                </c:pt>
                <c:pt idx="48">
                  <c:v>13.76</c:v>
                </c:pt>
                <c:pt idx="49">
                  <c:v>12.85</c:v>
                </c:pt>
                <c:pt idx="51">
                  <c:v>14.71</c:v>
                </c:pt>
                <c:pt idx="52">
                  <c:v>14.67</c:v>
                </c:pt>
                <c:pt idx="53">
                  <c:v>14.11</c:v>
                </c:pt>
                <c:pt idx="54">
                  <c:v>18.09</c:v>
                </c:pt>
                <c:pt idx="56">
                  <c:v>12.66</c:v>
                </c:pt>
                <c:pt idx="61">
                  <c:v>16.45</c:v>
                </c:pt>
                <c:pt idx="64">
                  <c:v>12.38</c:v>
                </c:pt>
                <c:pt idx="66">
                  <c:v>14.17</c:v>
                </c:pt>
                <c:pt idx="70">
                  <c:v>15.23</c:v>
                </c:pt>
                <c:pt idx="75">
                  <c:v>22.06</c:v>
                </c:pt>
                <c:pt idx="76">
                  <c:v>22.06</c:v>
                </c:pt>
                <c:pt idx="79">
                  <c:v>17.3</c:v>
                </c:pt>
                <c:pt idx="81">
                  <c:v>13.61</c:v>
                </c:pt>
                <c:pt idx="88">
                  <c:v>16.73</c:v>
                </c:pt>
                <c:pt idx="95">
                  <c:v>18.03</c:v>
                </c:pt>
                <c:pt idx="97">
                  <c:v>11.76</c:v>
                </c:pt>
                <c:pt idx="109">
                  <c:v>14.96</c:v>
                </c:pt>
                <c:pt idx="112">
                  <c:v>12.1</c:v>
                </c:pt>
                <c:pt idx="117">
                  <c:v>12.24</c:v>
                </c:pt>
                <c:pt idx="122">
                  <c:v>19.34</c:v>
                </c:pt>
                <c:pt idx="127">
                  <c:v>14.04</c:v>
                </c:pt>
                <c:pt idx="134">
                  <c:v>15.38</c:v>
                </c:pt>
                <c:pt idx="141">
                  <c:v>17.79</c:v>
                </c:pt>
                <c:pt idx="144">
                  <c:v>15.44</c:v>
                </c:pt>
                <c:pt idx="148">
                  <c:v>11.17</c:v>
                </c:pt>
                <c:pt idx="151">
                  <c:v>12.75</c:v>
                </c:pt>
                <c:pt idx="163">
                  <c:v>13.49</c:v>
                </c:pt>
                <c:pt idx="175">
                  <c:v>7.03</c:v>
                </c:pt>
                <c:pt idx="185">
                  <c:v>14.86</c:v>
                </c:pt>
                <c:pt idx="187">
                  <c:v>17.09</c:v>
                </c:pt>
                <c:pt idx="191">
                  <c:v>13.23</c:v>
                </c:pt>
                <c:pt idx="201">
                  <c:v>15.45</c:v>
                </c:pt>
                <c:pt idx="204">
                  <c:v>11.94</c:v>
                </c:pt>
                <c:pt idx="211">
                  <c:v>12.53</c:v>
                </c:pt>
                <c:pt idx="222">
                  <c:v>19.690000000000001</c:v>
                </c:pt>
                <c:pt idx="226">
                  <c:v>18.54</c:v>
                </c:pt>
                <c:pt idx="228">
                  <c:v>10.68</c:v>
                </c:pt>
                <c:pt idx="231">
                  <c:v>14.87</c:v>
                </c:pt>
                <c:pt idx="237">
                  <c:v>16.46</c:v>
                </c:pt>
                <c:pt idx="239">
                  <c:v>15.35</c:v>
                </c:pt>
                <c:pt idx="240">
                  <c:v>22.4</c:v>
                </c:pt>
                <c:pt idx="260">
                  <c:v>15.42</c:v>
                </c:pt>
                <c:pt idx="264">
                  <c:v>17.96</c:v>
                </c:pt>
                <c:pt idx="269">
                  <c:v>24.26</c:v>
                </c:pt>
                <c:pt idx="270">
                  <c:v>13.57</c:v>
                </c:pt>
                <c:pt idx="271">
                  <c:v>16.89</c:v>
                </c:pt>
                <c:pt idx="274">
                  <c:v>18.920000000000002</c:v>
                </c:pt>
                <c:pt idx="285">
                  <c:v>19.53</c:v>
                </c:pt>
                <c:pt idx="287">
                  <c:v>17.14</c:v>
                </c:pt>
                <c:pt idx="288">
                  <c:v>16.64</c:v>
                </c:pt>
                <c:pt idx="289">
                  <c:v>13.91</c:v>
                </c:pt>
                <c:pt idx="290">
                  <c:v>15.74</c:v>
                </c:pt>
                <c:pt idx="306">
                  <c:v>15.86</c:v>
                </c:pt>
                <c:pt idx="308">
                  <c:v>19.829999999999998</c:v>
                </c:pt>
                <c:pt idx="315">
                  <c:v>23.07</c:v>
                </c:pt>
                <c:pt idx="316">
                  <c:v>19.149999999999999</c:v>
                </c:pt>
                <c:pt idx="317">
                  <c:v>15.88</c:v>
                </c:pt>
                <c:pt idx="321">
                  <c:v>18.18</c:v>
                </c:pt>
                <c:pt idx="327">
                  <c:v>14.6</c:v>
                </c:pt>
                <c:pt idx="332">
                  <c:v>28.57</c:v>
                </c:pt>
                <c:pt idx="335">
                  <c:v>20.329999999999998</c:v>
                </c:pt>
                <c:pt idx="338">
                  <c:v>19.27</c:v>
                </c:pt>
                <c:pt idx="340">
                  <c:v>20.12</c:v>
                </c:pt>
                <c:pt idx="342">
                  <c:v>17.77</c:v>
                </c:pt>
                <c:pt idx="346">
                  <c:v>15.88</c:v>
                </c:pt>
                <c:pt idx="347">
                  <c:v>24.41</c:v>
                </c:pt>
                <c:pt idx="356">
                  <c:v>11.65</c:v>
                </c:pt>
                <c:pt idx="357">
                  <c:v>21.43</c:v>
                </c:pt>
                <c:pt idx="359">
                  <c:v>20</c:v>
                </c:pt>
                <c:pt idx="372">
                  <c:v>24.44</c:v>
                </c:pt>
                <c:pt idx="375">
                  <c:v>28.13</c:v>
                </c:pt>
                <c:pt idx="382">
                  <c:v>28.15</c:v>
                </c:pt>
                <c:pt idx="384">
                  <c:v>39.58</c:v>
                </c:pt>
                <c:pt idx="394">
                  <c:v>38.33</c:v>
                </c:pt>
                <c:pt idx="395">
                  <c:v>37.14</c:v>
                </c:pt>
                <c:pt idx="397">
                  <c:v>38.75</c:v>
                </c:pt>
                <c:pt idx="398">
                  <c:v>38.159999999999997</c:v>
                </c:pt>
                <c:pt idx="400">
                  <c:v>32.39</c:v>
                </c:pt>
                <c:pt idx="408">
                  <c:v>21.87</c:v>
                </c:pt>
                <c:pt idx="414">
                  <c:v>29.02</c:v>
                </c:pt>
                <c:pt idx="416">
                  <c:v>22.37</c:v>
                </c:pt>
                <c:pt idx="423">
                  <c:v>35.46</c:v>
                </c:pt>
                <c:pt idx="424">
                  <c:v>21.1</c:v>
                </c:pt>
                <c:pt idx="430">
                  <c:v>25.15</c:v>
                </c:pt>
                <c:pt idx="434">
                  <c:v>34.409999999999997</c:v>
                </c:pt>
                <c:pt idx="436">
                  <c:v>26.09</c:v>
                </c:pt>
                <c:pt idx="450">
                  <c:v>28.24</c:v>
                </c:pt>
                <c:pt idx="451">
                  <c:v>23.58</c:v>
                </c:pt>
                <c:pt idx="455">
                  <c:v>23.41</c:v>
                </c:pt>
                <c:pt idx="456">
                  <c:v>25.31</c:v>
                </c:pt>
                <c:pt idx="459">
                  <c:v>21.27</c:v>
                </c:pt>
                <c:pt idx="460">
                  <c:v>42.95</c:v>
                </c:pt>
                <c:pt idx="466">
                  <c:v>18.559999999999999</c:v>
                </c:pt>
                <c:pt idx="479">
                  <c:v>21.52</c:v>
                </c:pt>
                <c:pt idx="482">
                  <c:v>34.979999999999997</c:v>
                </c:pt>
                <c:pt idx="498">
                  <c:v>32.409999999999997</c:v>
                </c:pt>
                <c:pt idx="510">
                  <c:v>22.35</c:v>
                </c:pt>
                <c:pt idx="511">
                  <c:v>34.76</c:v>
                </c:pt>
                <c:pt idx="514">
                  <c:v>24.19</c:v>
                </c:pt>
                <c:pt idx="516">
                  <c:v>25.48</c:v>
                </c:pt>
                <c:pt idx="517">
                  <c:v>21.75</c:v>
                </c:pt>
                <c:pt idx="521">
                  <c:v>36.1</c:v>
                </c:pt>
                <c:pt idx="522">
                  <c:v>29.54</c:v>
                </c:pt>
                <c:pt idx="526">
                  <c:v>18.350000000000001</c:v>
                </c:pt>
                <c:pt idx="531">
                  <c:v>24.38</c:v>
                </c:pt>
                <c:pt idx="532">
                  <c:v>22.54</c:v>
                </c:pt>
                <c:pt idx="534">
                  <c:v>24.37</c:v>
                </c:pt>
                <c:pt idx="537">
                  <c:v>27.64</c:v>
                </c:pt>
                <c:pt idx="539">
                  <c:v>27.64</c:v>
                </c:pt>
                <c:pt idx="543">
                  <c:v>24.63</c:v>
                </c:pt>
                <c:pt idx="545">
                  <c:v>23.11</c:v>
                </c:pt>
                <c:pt idx="546">
                  <c:v>22.51</c:v>
                </c:pt>
                <c:pt idx="547">
                  <c:v>26.13</c:v>
                </c:pt>
                <c:pt idx="550">
                  <c:v>27.53</c:v>
                </c:pt>
                <c:pt idx="551">
                  <c:v>29.33</c:v>
                </c:pt>
                <c:pt idx="555">
                  <c:v>26.67</c:v>
                </c:pt>
                <c:pt idx="556">
                  <c:v>38.18</c:v>
                </c:pt>
                <c:pt idx="557">
                  <c:v>39.49</c:v>
                </c:pt>
                <c:pt idx="564">
                  <c:v>29.41</c:v>
                </c:pt>
                <c:pt idx="575">
                  <c:v>36.01</c:v>
                </c:pt>
                <c:pt idx="581">
                  <c:v>34.630000000000003</c:v>
                </c:pt>
                <c:pt idx="586">
                  <c:v>33.880000000000003</c:v>
                </c:pt>
                <c:pt idx="587">
                  <c:v>34.72</c:v>
                </c:pt>
                <c:pt idx="591">
                  <c:v>53.66</c:v>
                </c:pt>
                <c:pt idx="594">
                  <c:v>45.09</c:v>
                </c:pt>
                <c:pt idx="603">
                  <c:v>40.53</c:v>
                </c:pt>
                <c:pt idx="607">
                  <c:v>29.32</c:v>
                </c:pt>
                <c:pt idx="612">
                  <c:v>40.159999999999997</c:v>
                </c:pt>
                <c:pt idx="613">
                  <c:v>27.53</c:v>
                </c:pt>
                <c:pt idx="615">
                  <c:v>31.67</c:v>
                </c:pt>
                <c:pt idx="623">
                  <c:v>29.67</c:v>
                </c:pt>
                <c:pt idx="628">
                  <c:v>40</c:v>
                </c:pt>
                <c:pt idx="632">
                  <c:v>27.91</c:v>
                </c:pt>
                <c:pt idx="637">
                  <c:v>34.92</c:v>
                </c:pt>
                <c:pt idx="638">
                  <c:v>30.86</c:v>
                </c:pt>
                <c:pt idx="640">
                  <c:v>30.99</c:v>
                </c:pt>
                <c:pt idx="644">
                  <c:v>28.96</c:v>
                </c:pt>
                <c:pt idx="645">
                  <c:v>35.44</c:v>
                </c:pt>
                <c:pt idx="651">
                  <c:v>25.19</c:v>
                </c:pt>
                <c:pt idx="655">
                  <c:v>37.19</c:v>
                </c:pt>
                <c:pt idx="656">
                  <c:v>25.16</c:v>
                </c:pt>
                <c:pt idx="658">
                  <c:v>26.67</c:v>
                </c:pt>
                <c:pt idx="659">
                  <c:v>32.5</c:v>
                </c:pt>
                <c:pt idx="664">
                  <c:v>32.46</c:v>
                </c:pt>
                <c:pt idx="667">
                  <c:v>25.25</c:v>
                </c:pt>
                <c:pt idx="669">
                  <c:v>30.05</c:v>
                </c:pt>
                <c:pt idx="673">
                  <c:v>33.78</c:v>
                </c:pt>
                <c:pt idx="674">
                  <c:v>31.89</c:v>
                </c:pt>
                <c:pt idx="675">
                  <c:v>31.89</c:v>
                </c:pt>
                <c:pt idx="686">
                  <c:v>37.270000000000003</c:v>
                </c:pt>
                <c:pt idx="687">
                  <c:v>28.13</c:v>
                </c:pt>
                <c:pt idx="689">
                  <c:v>32.33</c:v>
                </c:pt>
                <c:pt idx="691">
                  <c:v>26.61</c:v>
                </c:pt>
                <c:pt idx="692">
                  <c:v>31.53</c:v>
                </c:pt>
                <c:pt idx="701">
                  <c:v>28.71</c:v>
                </c:pt>
                <c:pt idx="703">
                  <c:v>26.11</c:v>
                </c:pt>
                <c:pt idx="704">
                  <c:v>28.77</c:v>
                </c:pt>
                <c:pt idx="705">
                  <c:v>33.71</c:v>
                </c:pt>
                <c:pt idx="707">
                  <c:v>27.16</c:v>
                </c:pt>
                <c:pt idx="711">
                  <c:v>25.83</c:v>
                </c:pt>
                <c:pt idx="723">
                  <c:v>35.42</c:v>
                </c:pt>
                <c:pt idx="724">
                  <c:v>26.51</c:v>
                </c:pt>
                <c:pt idx="725">
                  <c:v>31.6</c:v>
                </c:pt>
                <c:pt idx="732">
                  <c:v>25.23</c:v>
                </c:pt>
                <c:pt idx="735">
                  <c:v>36.409999999999997</c:v>
                </c:pt>
                <c:pt idx="747">
                  <c:v>31.48</c:v>
                </c:pt>
                <c:pt idx="750">
                  <c:v>27.54</c:v>
                </c:pt>
                <c:pt idx="751">
                  <c:v>30.43</c:v>
                </c:pt>
                <c:pt idx="758">
                  <c:v>27.46</c:v>
                </c:pt>
                <c:pt idx="759">
                  <c:v>25.8</c:v>
                </c:pt>
                <c:pt idx="767">
                  <c:v>33.17</c:v>
                </c:pt>
                <c:pt idx="768">
                  <c:v>35.89</c:v>
                </c:pt>
                <c:pt idx="773">
                  <c:v>32.020000000000003</c:v>
                </c:pt>
                <c:pt idx="776">
                  <c:v>31.25</c:v>
                </c:pt>
                <c:pt idx="777">
                  <c:v>35.659999999999997</c:v>
                </c:pt>
                <c:pt idx="779">
                  <c:v>36.67</c:v>
                </c:pt>
                <c:pt idx="780">
                  <c:v>45.16</c:v>
                </c:pt>
                <c:pt idx="783">
                  <c:v>33.42</c:v>
                </c:pt>
                <c:pt idx="785">
                  <c:v>29.64</c:v>
                </c:pt>
                <c:pt idx="793">
                  <c:v>26.12</c:v>
                </c:pt>
                <c:pt idx="795">
                  <c:v>34.57</c:v>
                </c:pt>
                <c:pt idx="796">
                  <c:v>37.99</c:v>
                </c:pt>
                <c:pt idx="797">
                  <c:v>36.630000000000003</c:v>
                </c:pt>
                <c:pt idx="799">
                  <c:v>37.61</c:v>
                </c:pt>
                <c:pt idx="800">
                  <c:v>36.11</c:v>
                </c:pt>
              </c:numCache>
            </c:numRef>
          </c:val>
          <c:smooth val="0"/>
          <c:extLst>
            <c:ext xmlns:c16="http://schemas.microsoft.com/office/drawing/2014/chart" uri="{C3380CC4-5D6E-409C-BE32-E72D297353CC}">
              <c16:uniqueId val="{00000000-71A5-441F-B2B7-102938C5D4FD}"/>
            </c:ext>
          </c:extLst>
        </c:ser>
        <c:dLbls>
          <c:showLegendKey val="0"/>
          <c:showVal val="0"/>
          <c:showCatName val="0"/>
          <c:showSerName val="0"/>
          <c:showPercent val="0"/>
          <c:showBubbleSize val="0"/>
        </c:dLbls>
        <c:smooth val="0"/>
        <c:axId val="2063835824"/>
        <c:axId val="1"/>
      </c:lineChart>
      <c:catAx>
        <c:axId val="20638358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spPr>
            <a:ln w="12700"/>
          </c:spPr>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3582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lt;200kg</a:t>
            </a:r>
          </a:p>
        </c:rich>
      </c:tx>
      <c:overlay val="0"/>
    </c:title>
    <c:autoTitleDeleted val="0"/>
    <c:plotArea>
      <c:layout/>
      <c:lineChart>
        <c:grouping val="standard"/>
        <c:varyColors val="0"/>
        <c:ser>
          <c:idx val="6"/>
          <c:order val="0"/>
          <c:tx>
            <c:strRef>
              <c:f>Summary!$C$3</c:f>
              <c:strCache>
                <c:ptCount val="1"/>
                <c:pt idx="0">
                  <c:v>Tollies/Bull calves&lt;200kg</c:v>
                </c:pt>
              </c:strCache>
            </c:strRef>
          </c:tx>
          <c:spPr>
            <a:ln w="12700">
              <a:solidFill>
                <a:schemeClr val="tx1"/>
              </a:solidFill>
            </a:ln>
          </c:spPr>
          <c:marker>
            <c:symbol val="none"/>
          </c:marker>
          <c:cat>
            <c:numRef>
              <c:f>Summary!$B$4:$B$823</c:f>
              <c:numCache>
                <c:formatCode>General</c:formatCode>
                <c:ptCount val="820"/>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C$4:$C$823</c:f>
              <c:numCache>
                <c:formatCode>0.00</c:formatCode>
                <c:ptCount val="820"/>
                <c:pt idx="0">
                  <c:v>16.88</c:v>
                </c:pt>
                <c:pt idx="1">
                  <c:v>16.59</c:v>
                </c:pt>
                <c:pt idx="2">
                  <c:v>16.57</c:v>
                </c:pt>
                <c:pt idx="3">
                  <c:v>15.76</c:v>
                </c:pt>
                <c:pt idx="4">
                  <c:v>15.83</c:v>
                </c:pt>
                <c:pt idx="5">
                  <c:v>15.98</c:v>
                </c:pt>
                <c:pt idx="6">
                  <c:v>15.98</c:v>
                </c:pt>
                <c:pt idx="7">
                  <c:v>15.78</c:v>
                </c:pt>
                <c:pt idx="8">
                  <c:v>15.32</c:v>
                </c:pt>
                <c:pt idx="9">
                  <c:v>15.82</c:v>
                </c:pt>
                <c:pt idx="10">
                  <c:v>15.72</c:v>
                </c:pt>
                <c:pt idx="11">
                  <c:v>15.66</c:v>
                </c:pt>
                <c:pt idx="12">
                  <c:v>15.91</c:v>
                </c:pt>
                <c:pt idx="13">
                  <c:v>15.98</c:v>
                </c:pt>
                <c:pt idx="14">
                  <c:v>15.81</c:v>
                </c:pt>
                <c:pt idx="15">
                  <c:v>15.88</c:v>
                </c:pt>
                <c:pt idx="16">
                  <c:v>16.25</c:v>
                </c:pt>
                <c:pt idx="17">
                  <c:v>15.62</c:v>
                </c:pt>
                <c:pt idx="18">
                  <c:v>16.09</c:v>
                </c:pt>
                <c:pt idx="19">
                  <c:v>16.03</c:v>
                </c:pt>
                <c:pt idx="20">
                  <c:v>16.28</c:v>
                </c:pt>
                <c:pt idx="21">
                  <c:v>16.079999999999998</c:v>
                </c:pt>
                <c:pt idx="22">
                  <c:v>16.420000000000002</c:v>
                </c:pt>
                <c:pt idx="23">
                  <c:v>15.56</c:v>
                </c:pt>
                <c:pt idx="24">
                  <c:v>15.78</c:v>
                </c:pt>
                <c:pt idx="25">
                  <c:v>16.05</c:v>
                </c:pt>
                <c:pt idx="26">
                  <c:v>15.65</c:v>
                </c:pt>
                <c:pt idx="27">
                  <c:v>16.03</c:v>
                </c:pt>
                <c:pt idx="28">
                  <c:v>15.79</c:v>
                </c:pt>
                <c:pt idx="29">
                  <c:v>15.58</c:v>
                </c:pt>
                <c:pt idx="30">
                  <c:v>16.09</c:v>
                </c:pt>
                <c:pt idx="31">
                  <c:v>16.45</c:v>
                </c:pt>
                <c:pt idx="32">
                  <c:v>16.75</c:v>
                </c:pt>
                <c:pt idx="33">
                  <c:v>16.559999999999999</c:v>
                </c:pt>
                <c:pt idx="34">
                  <c:v>16.690000000000001</c:v>
                </c:pt>
                <c:pt idx="35">
                  <c:v>16.66</c:v>
                </c:pt>
                <c:pt idx="36">
                  <c:v>16.309999999999999</c:v>
                </c:pt>
                <c:pt idx="37">
                  <c:v>16.45</c:v>
                </c:pt>
                <c:pt idx="38">
                  <c:v>16.850000000000001</c:v>
                </c:pt>
                <c:pt idx="39">
                  <c:v>16.399999999999999</c:v>
                </c:pt>
                <c:pt idx="40">
                  <c:v>16.829999999999998</c:v>
                </c:pt>
                <c:pt idx="41">
                  <c:v>17.260000000000002</c:v>
                </c:pt>
                <c:pt idx="42">
                  <c:v>17.059999999999999</c:v>
                </c:pt>
                <c:pt idx="43">
                  <c:v>17.670000000000002</c:v>
                </c:pt>
                <c:pt idx="44">
                  <c:v>17.86</c:v>
                </c:pt>
                <c:pt idx="45">
                  <c:v>18.75</c:v>
                </c:pt>
                <c:pt idx="46">
                  <c:v>19.149999999999999</c:v>
                </c:pt>
                <c:pt idx="47">
                  <c:v>18.89</c:v>
                </c:pt>
                <c:pt idx="48">
                  <c:v>19.46</c:v>
                </c:pt>
                <c:pt idx="49">
                  <c:v>19.989999999999998</c:v>
                </c:pt>
                <c:pt idx="50">
                  <c:v>20.260000000000002</c:v>
                </c:pt>
                <c:pt idx="51">
                  <c:v>19.66</c:v>
                </c:pt>
                <c:pt idx="52">
                  <c:v>18.95</c:v>
                </c:pt>
                <c:pt idx="53">
                  <c:v>18.57</c:v>
                </c:pt>
                <c:pt idx="54">
                  <c:v>18.84</c:v>
                </c:pt>
                <c:pt idx="55">
                  <c:v>18.16</c:v>
                </c:pt>
                <c:pt idx="56">
                  <c:v>17.32</c:v>
                </c:pt>
                <c:pt idx="57">
                  <c:v>18.100000000000001</c:v>
                </c:pt>
                <c:pt idx="58">
                  <c:v>18.16</c:v>
                </c:pt>
                <c:pt idx="59">
                  <c:v>18.34</c:v>
                </c:pt>
                <c:pt idx="60">
                  <c:v>18.78</c:v>
                </c:pt>
                <c:pt idx="61">
                  <c:v>18.71</c:v>
                </c:pt>
                <c:pt idx="62">
                  <c:v>18.82</c:v>
                </c:pt>
                <c:pt idx="63">
                  <c:v>18.489999999999998</c:v>
                </c:pt>
                <c:pt idx="64">
                  <c:v>18.59</c:v>
                </c:pt>
                <c:pt idx="65">
                  <c:v>18.350000000000001</c:v>
                </c:pt>
                <c:pt idx="66">
                  <c:v>18.2</c:v>
                </c:pt>
                <c:pt idx="67">
                  <c:v>18.05</c:v>
                </c:pt>
                <c:pt idx="68">
                  <c:v>18.59</c:v>
                </c:pt>
                <c:pt idx="69">
                  <c:v>18.100000000000001</c:v>
                </c:pt>
                <c:pt idx="70">
                  <c:v>18.57</c:v>
                </c:pt>
                <c:pt idx="71">
                  <c:v>19.27</c:v>
                </c:pt>
                <c:pt idx="72">
                  <c:v>18.920000000000002</c:v>
                </c:pt>
                <c:pt idx="73">
                  <c:v>20.260000000000002</c:v>
                </c:pt>
                <c:pt idx="74">
                  <c:v>21.27</c:v>
                </c:pt>
                <c:pt idx="75">
                  <c:v>20.03</c:v>
                </c:pt>
                <c:pt idx="76">
                  <c:v>20.03</c:v>
                </c:pt>
                <c:pt idx="77">
                  <c:v>20.79</c:v>
                </c:pt>
                <c:pt idx="78">
                  <c:v>20.149999999999999</c:v>
                </c:pt>
                <c:pt idx="79">
                  <c:v>20.399999999999999</c:v>
                </c:pt>
                <c:pt idx="80">
                  <c:v>20.190000000000001</c:v>
                </c:pt>
                <c:pt idx="81">
                  <c:v>20.77</c:v>
                </c:pt>
                <c:pt idx="82">
                  <c:v>20.62</c:v>
                </c:pt>
                <c:pt idx="83">
                  <c:v>21.67</c:v>
                </c:pt>
                <c:pt idx="84">
                  <c:v>22.77</c:v>
                </c:pt>
                <c:pt idx="85">
                  <c:v>24.1</c:v>
                </c:pt>
                <c:pt idx="86">
                  <c:v>23.32</c:v>
                </c:pt>
                <c:pt idx="87">
                  <c:v>23.17</c:v>
                </c:pt>
                <c:pt idx="88">
                  <c:v>22.83</c:v>
                </c:pt>
                <c:pt idx="89">
                  <c:v>23.07</c:v>
                </c:pt>
                <c:pt idx="90">
                  <c:v>22.72</c:v>
                </c:pt>
                <c:pt idx="91">
                  <c:v>19.079999999999998</c:v>
                </c:pt>
                <c:pt idx="92">
                  <c:v>22.75</c:v>
                </c:pt>
                <c:pt idx="93">
                  <c:v>22.77</c:v>
                </c:pt>
                <c:pt idx="94">
                  <c:v>23.13</c:v>
                </c:pt>
                <c:pt idx="95">
                  <c:v>21.81</c:v>
                </c:pt>
                <c:pt idx="96">
                  <c:v>21.48</c:v>
                </c:pt>
                <c:pt idx="97">
                  <c:v>20.7</c:v>
                </c:pt>
                <c:pt idx="98">
                  <c:v>20.149999999999999</c:v>
                </c:pt>
                <c:pt idx="99">
                  <c:v>19.399999999999999</c:v>
                </c:pt>
                <c:pt idx="100">
                  <c:v>18.47</c:v>
                </c:pt>
                <c:pt idx="101">
                  <c:v>17.3</c:v>
                </c:pt>
                <c:pt idx="102">
                  <c:v>17.350000000000001</c:v>
                </c:pt>
                <c:pt idx="103">
                  <c:v>17.25</c:v>
                </c:pt>
                <c:pt idx="104">
                  <c:v>16.440000000000001</c:v>
                </c:pt>
                <c:pt idx="105">
                  <c:v>16.13</c:v>
                </c:pt>
                <c:pt idx="106">
                  <c:v>16.420000000000002</c:v>
                </c:pt>
                <c:pt idx="107">
                  <c:v>16.34</c:v>
                </c:pt>
                <c:pt idx="108">
                  <c:v>16.5</c:v>
                </c:pt>
                <c:pt idx="109">
                  <c:v>16.07</c:v>
                </c:pt>
                <c:pt idx="110">
                  <c:v>16.670000000000002</c:v>
                </c:pt>
                <c:pt idx="111">
                  <c:v>16.25</c:v>
                </c:pt>
                <c:pt idx="112">
                  <c:v>16.38</c:v>
                </c:pt>
                <c:pt idx="113">
                  <c:v>16.38</c:v>
                </c:pt>
                <c:pt idx="114">
                  <c:v>16.02</c:v>
                </c:pt>
                <c:pt idx="115">
                  <c:v>16.28</c:v>
                </c:pt>
                <c:pt idx="116">
                  <c:v>16.12</c:v>
                </c:pt>
                <c:pt idx="117">
                  <c:v>16.04</c:v>
                </c:pt>
                <c:pt idx="118">
                  <c:v>15.57</c:v>
                </c:pt>
                <c:pt idx="119">
                  <c:v>15.45</c:v>
                </c:pt>
                <c:pt idx="120">
                  <c:v>15.49</c:v>
                </c:pt>
                <c:pt idx="121">
                  <c:v>15.96</c:v>
                </c:pt>
                <c:pt idx="122">
                  <c:v>17.3</c:v>
                </c:pt>
                <c:pt idx="123">
                  <c:v>16.100000000000001</c:v>
                </c:pt>
                <c:pt idx="124">
                  <c:v>17.91</c:v>
                </c:pt>
                <c:pt idx="125">
                  <c:v>17.13</c:v>
                </c:pt>
                <c:pt idx="126">
                  <c:v>17.32</c:v>
                </c:pt>
                <c:pt idx="127">
                  <c:v>17.920000000000002</c:v>
                </c:pt>
                <c:pt idx="128">
                  <c:v>17.91</c:v>
                </c:pt>
                <c:pt idx="129">
                  <c:v>17.510000000000002</c:v>
                </c:pt>
                <c:pt idx="130">
                  <c:v>17.38</c:v>
                </c:pt>
                <c:pt idx="131">
                  <c:v>17.46</c:v>
                </c:pt>
                <c:pt idx="132">
                  <c:v>17.93</c:v>
                </c:pt>
                <c:pt idx="133">
                  <c:v>17.53</c:v>
                </c:pt>
                <c:pt idx="134">
                  <c:v>18.28</c:v>
                </c:pt>
                <c:pt idx="135">
                  <c:v>18.64</c:v>
                </c:pt>
                <c:pt idx="136">
                  <c:v>18.5</c:v>
                </c:pt>
                <c:pt idx="137">
                  <c:v>17.96</c:v>
                </c:pt>
                <c:pt idx="138">
                  <c:v>17.84</c:v>
                </c:pt>
                <c:pt idx="139">
                  <c:v>17.71</c:v>
                </c:pt>
                <c:pt idx="140">
                  <c:v>17.579999999999998</c:v>
                </c:pt>
                <c:pt idx="141">
                  <c:v>17.600000000000001</c:v>
                </c:pt>
                <c:pt idx="142">
                  <c:v>17.78</c:v>
                </c:pt>
                <c:pt idx="143">
                  <c:v>18.03</c:v>
                </c:pt>
                <c:pt idx="144">
                  <c:v>17.64</c:v>
                </c:pt>
                <c:pt idx="145">
                  <c:v>17.5</c:v>
                </c:pt>
                <c:pt idx="146">
                  <c:v>17.32</c:v>
                </c:pt>
                <c:pt idx="147">
                  <c:v>17.68</c:v>
                </c:pt>
                <c:pt idx="148">
                  <c:v>17.170000000000002</c:v>
                </c:pt>
                <c:pt idx="149">
                  <c:v>16.899999999999999</c:v>
                </c:pt>
                <c:pt idx="150">
                  <c:v>16.100000000000001</c:v>
                </c:pt>
                <c:pt idx="151">
                  <c:v>16.11</c:v>
                </c:pt>
                <c:pt idx="152">
                  <c:v>15.85</c:v>
                </c:pt>
                <c:pt idx="153">
                  <c:v>15.35</c:v>
                </c:pt>
                <c:pt idx="154">
                  <c:v>15.42</c:v>
                </c:pt>
                <c:pt idx="155">
                  <c:v>16.059999999999999</c:v>
                </c:pt>
                <c:pt idx="156">
                  <c:v>16.54</c:v>
                </c:pt>
                <c:pt idx="157">
                  <c:v>16.61</c:v>
                </c:pt>
                <c:pt idx="158">
                  <c:v>16.96</c:v>
                </c:pt>
                <c:pt idx="159">
                  <c:v>16.63</c:v>
                </c:pt>
                <c:pt idx="160">
                  <c:v>16.84</c:v>
                </c:pt>
                <c:pt idx="161">
                  <c:v>15.84</c:v>
                </c:pt>
                <c:pt idx="162">
                  <c:v>15.36</c:v>
                </c:pt>
                <c:pt idx="163">
                  <c:v>15.89</c:v>
                </c:pt>
                <c:pt idx="164">
                  <c:v>15.55</c:v>
                </c:pt>
                <c:pt idx="165">
                  <c:v>15.59</c:v>
                </c:pt>
                <c:pt idx="166">
                  <c:v>15.27</c:v>
                </c:pt>
                <c:pt idx="167">
                  <c:v>16.05</c:v>
                </c:pt>
                <c:pt idx="168">
                  <c:v>16.46</c:v>
                </c:pt>
                <c:pt idx="169">
                  <c:v>16.16</c:v>
                </c:pt>
                <c:pt idx="170">
                  <c:v>16.989999999999998</c:v>
                </c:pt>
                <c:pt idx="171">
                  <c:v>16.41</c:v>
                </c:pt>
                <c:pt idx="172">
                  <c:v>16.89</c:v>
                </c:pt>
                <c:pt idx="173">
                  <c:v>15.86</c:v>
                </c:pt>
                <c:pt idx="174">
                  <c:v>16.54</c:v>
                </c:pt>
                <c:pt idx="175">
                  <c:v>16.059999999999999</c:v>
                </c:pt>
                <c:pt idx="176">
                  <c:v>16.22</c:v>
                </c:pt>
                <c:pt idx="177">
                  <c:v>16.11</c:v>
                </c:pt>
                <c:pt idx="178">
                  <c:v>16.12</c:v>
                </c:pt>
                <c:pt idx="179">
                  <c:v>15.81</c:v>
                </c:pt>
                <c:pt idx="180">
                  <c:v>15.63</c:v>
                </c:pt>
                <c:pt idx="181">
                  <c:v>16.329999999999998</c:v>
                </c:pt>
                <c:pt idx="182">
                  <c:v>16.05</c:v>
                </c:pt>
                <c:pt idx="183">
                  <c:v>17.309999999999999</c:v>
                </c:pt>
                <c:pt idx="184">
                  <c:v>16.82</c:v>
                </c:pt>
                <c:pt idx="185">
                  <c:v>17.09</c:v>
                </c:pt>
                <c:pt idx="186">
                  <c:v>17.239999999999998</c:v>
                </c:pt>
                <c:pt idx="187">
                  <c:v>17.04</c:v>
                </c:pt>
                <c:pt idx="188">
                  <c:v>17.13</c:v>
                </c:pt>
                <c:pt idx="189">
                  <c:v>16.45</c:v>
                </c:pt>
                <c:pt idx="190">
                  <c:v>16.350000000000001</c:v>
                </c:pt>
                <c:pt idx="191">
                  <c:v>17</c:v>
                </c:pt>
                <c:pt idx="192">
                  <c:v>17.48</c:v>
                </c:pt>
                <c:pt idx="193">
                  <c:v>17.329999999999998</c:v>
                </c:pt>
                <c:pt idx="194">
                  <c:v>17.3</c:v>
                </c:pt>
                <c:pt idx="195">
                  <c:v>16.91</c:v>
                </c:pt>
                <c:pt idx="196">
                  <c:v>17.36</c:v>
                </c:pt>
                <c:pt idx="197">
                  <c:v>18.63</c:v>
                </c:pt>
                <c:pt idx="198">
                  <c:v>17.260000000000002</c:v>
                </c:pt>
                <c:pt idx="199">
                  <c:v>17.37</c:v>
                </c:pt>
                <c:pt idx="200">
                  <c:v>17.829999999999998</c:v>
                </c:pt>
                <c:pt idx="201">
                  <c:v>18.21</c:v>
                </c:pt>
                <c:pt idx="202">
                  <c:v>17.91</c:v>
                </c:pt>
                <c:pt idx="203">
                  <c:v>17.59</c:v>
                </c:pt>
                <c:pt idx="204">
                  <c:v>17.97</c:v>
                </c:pt>
                <c:pt idx="205">
                  <c:v>17.559999999999999</c:v>
                </c:pt>
                <c:pt idx="206">
                  <c:v>17.670000000000002</c:v>
                </c:pt>
                <c:pt idx="207">
                  <c:v>17.2</c:v>
                </c:pt>
                <c:pt idx="208">
                  <c:v>16.86</c:v>
                </c:pt>
                <c:pt idx="209">
                  <c:v>17.04</c:v>
                </c:pt>
                <c:pt idx="210">
                  <c:v>17.04</c:v>
                </c:pt>
                <c:pt idx="211">
                  <c:v>16.91</c:v>
                </c:pt>
                <c:pt idx="212">
                  <c:v>16.989999999999998</c:v>
                </c:pt>
                <c:pt idx="213">
                  <c:v>17.989999999999998</c:v>
                </c:pt>
                <c:pt idx="214">
                  <c:v>18.03</c:v>
                </c:pt>
                <c:pt idx="215">
                  <c:v>18</c:v>
                </c:pt>
                <c:pt idx="216">
                  <c:v>18.600000000000001</c:v>
                </c:pt>
                <c:pt idx="217">
                  <c:v>17.899999999999999</c:v>
                </c:pt>
                <c:pt idx="218">
                  <c:v>16.690000000000001</c:v>
                </c:pt>
                <c:pt idx="219">
                  <c:v>18.63</c:v>
                </c:pt>
                <c:pt idx="220">
                  <c:v>19.66</c:v>
                </c:pt>
                <c:pt idx="221">
                  <c:v>19</c:v>
                </c:pt>
                <c:pt idx="222">
                  <c:v>19.899999999999999</c:v>
                </c:pt>
                <c:pt idx="223">
                  <c:v>23.04</c:v>
                </c:pt>
                <c:pt idx="224">
                  <c:v>19.5</c:v>
                </c:pt>
                <c:pt idx="225">
                  <c:v>20.25</c:v>
                </c:pt>
                <c:pt idx="226">
                  <c:v>18.52</c:v>
                </c:pt>
                <c:pt idx="227">
                  <c:v>19.7</c:v>
                </c:pt>
                <c:pt idx="228">
                  <c:v>20.170000000000002</c:v>
                </c:pt>
                <c:pt idx="229">
                  <c:v>20.100000000000001</c:v>
                </c:pt>
                <c:pt idx="230">
                  <c:v>20.190000000000001</c:v>
                </c:pt>
                <c:pt idx="231">
                  <c:v>20.29</c:v>
                </c:pt>
                <c:pt idx="232">
                  <c:v>21.15</c:v>
                </c:pt>
                <c:pt idx="233">
                  <c:v>21.03</c:v>
                </c:pt>
                <c:pt idx="234">
                  <c:v>21.45</c:v>
                </c:pt>
                <c:pt idx="235">
                  <c:v>21.35</c:v>
                </c:pt>
                <c:pt idx="236">
                  <c:v>21.74</c:v>
                </c:pt>
                <c:pt idx="237">
                  <c:v>21.74</c:v>
                </c:pt>
                <c:pt idx="238">
                  <c:v>21.86</c:v>
                </c:pt>
                <c:pt idx="239">
                  <c:v>21.42</c:v>
                </c:pt>
                <c:pt idx="240">
                  <c:v>21.65</c:v>
                </c:pt>
                <c:pt idx="241">
                  <c:v>21.7</c:v>
                </c:pt>
                <c:pt idx="242">
                  <c:v>22.15</c:v>
                </c:pt>
                <c:pt idx="243">
                  <c:v>21.95</c:v>
                </c:pt>
                <c:pt idx="244">
                  <c:v>21.85</c:v>
                </c:pt>
                <c:pt idx="245">
                  <c:v>21.6</c:v>
                </c:pt>
                <c:pt idx="246">
                  <c:v>20.49</c:v>
                </c:pt>
                <c:pt idx="247">
                  <c:v>18.78</c:v>
                </c:pt>
                <c:pt idx="248">
                  <c:v>18.54</c:v>
                </c:pt>
                <c:pt idx="249">
                  <c:v>18.39</c:v>
                </c:pt>
                <c:pt idx="250">
                  <c:v>18.47</c:v>
                </c:pt>
                <c:pt idx="251">
                  <c:v>18.54</c:v>
                </c:pt>
                <c:pt idx="252">
                  <c:v>18.45</c:v>
                </c:pt>
                <c:pt idx="253">
                  <c:v>19.55</c:v>
                </c:pt>
                <c:pt idx="254">
                  <c:v>20.100000000000001</c:v>
                </c:pt>
                <c:pt idx="255">
                  <c:v>21.33</c:v>
                </c:pt>
                <c:pt idx="256">
                  <c:v>20.72</c:v>
                </c:pt>
                <c:pt idx="257">
                  <c:v>21.25</c:v>
                </c:pt>
                <c:pt idx="258">
                  <c:v>20.18</c:v>
                </c:pt>
                <c:pt idx="259">
                  <c:v>20.100000000000001</c:v>
                </c:pt>
                <c:pt idx="260">
                  <c:v>19.61</c:v>
                </c:pt>
                <c:pt idx="261">
                  <c:v>19.190000000000001</c:v>
                </c:pt>
                <c:pt idx="262">
                  <c:v>19.399999999999999</c:v>
                </c:pt>
                <c:pt idx="263">
                  <c:v>20.12</c:v>
                </c:pt>
                <c:pt idx="264">
                  <c:v>20.16</c:v>
                </c:pt>
                <c:pt idx="265">
                  <c:v>20.73</c:v>
                </c:pt>
                <c:pt idx="266">
                  <c:v>21.7</c:v>
                </c:pt>
                <c:pt idx="267">
                  <c:v>20.7</c:v>
                </c:pt>
                <c:pt idx="268">
                  <c:v>21.23</c:v>
                </c:pt>
                <c:pt idx="269">
                  <c:v>22.01</c:v>
                </c:pt>
                <c:pt idx="270">
                  <c:v>21.74</c:v>
                </c:pt>
                <c:pt idx="271">
                  <c:v>20.56</c:v>
                </c:pt>
                <c:pt idx="272">
                  <c:v>21.08</c:v>
                </c:pt>
                <c:pt idx="273">
                  <c:v>20.39</c:v>
                </c:pt>
                <c:pt idx="274">
                  <c:v>20.67</c:v>
                </c:pt>
                <c:pt idx="275">
                  <c:v>20.75</c:v>
                </c:pt>
                <c:pt idx="276">
                  <c:v>20.329999999999998</c:v>
                </c:pt>
                <c:pt idx="277">
                  <c:v>21.06</c:v>
                </c:pt>
                <c:pt idx="278">
                  <c:v>20.71</c:v>
                </c:pt>
                <c:pt idx="279">
                  <c:v>20.61</c:v>
                </c:pt>
                <c:pt idx="280">
                  <c:v>20.94</c:v>
                </c:pt>
                <c:pt idx="281">
                  <c:v>20.95</c:v>
                </c:pt>
                <c:pt idx="282">
                  <c:v>20.91</c:v>
                </c:pt>
                <c:pt idx="283">
                  <c:v>20.27</c:v>
                </c:pt>
                <c:pt idx="284">
                  <c:v>18.5</c:v>
                </c:pt>
                <c:pt idx="285">
                  <c:v>18.29</c:v>
                </c:pt>
                <c:pt idx="286">
                  <c:v>18.75</c:v>
                </c:pt>
                <c:pt idx="287">
                  <c:v>19.71</c:v>
                </c:pt>
                <c:pt idx="288">
                  <c:v>18.12</c:v>
                </c:pt>
                <c:pt idx="289">
                  <c:v>18.79</c:v>
                </c:pt>
                <c:pt idx="290">
                  <c:v>19.03</c:v>
                </c:pt>
                <c:pt idx="291">
                  <c:v>19.309999999999999</c:v>
                </c:pt>
                <c:pt idx="292">
                  <c:v>21.13</c:v>
                </c:pt>
                <c:pt idx="293">
                  <c:v>21.58</c:v>
                </c:pt>
                <c:pt idx="294">
                  <c:v>21.31</c:v>
                </c:pt>
                <c:pt idx="295">
                  <c:v>21.39</c:v>
                </c:pt>
                <c:pt idx="296">
                  <c:v>20.65</c:v>
                </c:pt>
                <c:pt idx="297">
                  <c:v>20.86</c:v>
                </c:pt>
                <c:pt idx="298">
                  <c:v>19.79</c:v>
                </c:pt>
                <c:pt idx="299">
                  <c:v>20.94</c:v>
                </c:pt>
                <c:pt idx="300">
                  <c:v>20.86</c:v>
                </c:pt>
                <c:pt idx="301">
                  <c:v>19.54</c:v>
                </c:pt>
                <c:pt idx="302">
                  <c:v>21.06</c:v>
                </c:pt>
                <c:pt idx="303">
                  <c:v>20.440000000000001</c:v>
                </c:pt>
                <c:pt idx="304">
                  <c:v>20.25</c:v>
                </c:pt>
                <c:pt idx="305">
                  <c:v>21.17</c:v>
                </c:pt>
                <c:pt idx="306">
                  <c:v>20.36</c:v>
                </c:pt>
                <c:pt idx="307">
                  <c:v>20.6</c:v>
                </c:pt>
                <c:pt idx="308">
                  <c:v>20.149999999999999</c:v>
                </c:pt>
                <c:pt idx="309">
                  <c:v>20.46</c:v>
                </c:pt>
                <c:pt idx="310">
                  <c:v>20.51</c:v>
                </c:pt>
                <c:pt idx="311">
                  <c:v>20.41</c:v>
                </c:pt>
                <c:pt idx="312">
                  <c:v>20.53</c:v>
                </c:pt>
                <c:pt idx="313">
                  <c:v>20.010000000000002</c:v>
                </c:pt>
                <c:pt idx="314">
                  <c:v>20.34</c:v>
                </c:pt>
                <c:pt idx="315">
                  <c:v>19.84</c:v>
                </c:pt>
                <c:pt idx="316">
                  <c:v>21.08</c:v>
                </c:pt>
                <c:pt idx="317">
                  <c:v>20.440000000000001</c:v>
                </c:pt>
                <c:pt idx="318">
                  <c:v>20.68</c:v>
                </c:pt>
                <c:pt idx="319">
                  <c:v>20.98</c:v>
                </c:pt>
                <c:pt idx="320">
                  <c:v>21.22</c:v>
                </c:pt>
                <c:pt idx="321">
                  <c:v>20.82</c:v>
                </c:pt>
                <c:pt idx="322">
                  <c:v>21.12</c:v>
                </c:pt>
                <c:pt idx="323">
                  <c:v>21.21</c:v>
                </c:pt>
                <c:pt idx="324">
                  <c:v>21.44</c:v>
                </c:pt>
                <c:pt idx="325">
                  <c:v>21.72</c:v>
                </c:pt>
                <c:pt idx="326">
                  <c:v>21.08</c:v>
                </c:pt>
                <c:pt idx="327">
                  <c:v>21.66</c:v>
                </c:pt>
                <c:pt idx="328">
                  <c:v>21.65</c:v>
                </c:pt>
                <c:pt idx="329">
                  <c:v>21.32</c:v>
                </c:pt>
                <c:pt idx="330">
                  <c:v>22.17</c:v>
                </c:pt>
                <c:pt idx="331">
                  <c:v>21.87</c:v>
                </c:pt>
                <c:pt idx="332">
                  <c:v>20.75</c:v>
                </c:pt>
                <c:pt idx="333">
                  <c:v>23.37</c:v>
                </c:pt>
                <c:pt idx="334">
                  <c:v>23.89</c:v>
                </c:pt>
                <c:pt idx="335">
                  <c:v>23.95</c:v>
                </c:pt>
                <c:pt idx="336">
                  <c:v>23.8</c:v>
                </c:pt>
                <c:pt idx="337">
                  <c:v>23.85</c:v>
                </c:pt>
                <c:pt idx="338">
                  <c:v>24.5</c:v>
                </c:pt>
                <c:pt idx="339">
                  <c:v>25.76</c:v>
                </c:pt>
                <c:pt idx="340">
                  <c:v>27.35</c:v>
                </c:pt>
                <c:pt idx="341">
                  <c:v>28.23</c:v>
                </c:pt>
                <c:pt idx="342">
                  <c:v>28.34</c:v>
                </c:pt>
                <c:pt idx="343">
                  <c:v>28.92</c:v>
                </c:pt>
                <c:pt idx="344">
                  <c:v>30.76</c:v>
                </c:pt>
                <c:pt idx="345">
                  <c:v>28.49</c:v>
                </c:pt>
                <c:pt idx="346">
                  <c:v>28.68</c:v>
                </c:pt>
                <c:pt idx="347">
                  <c:v>28.14</c:v>
                </c:pt>
                <c:pt idx="348">
                  <c:v>28.54</c:v>
                </c:pt>
                <c:pt idx="349">
                  <c:v>27.79</c:v>
                </c:pt>
                <c:pt idx="350">
                  <c:v>29.55</c:v>
                </c:pt>
                <c:pt idx="351">
                  <c:v>29.88</c:v>
                </c:pt>
                <c:pt idx="352">
                  <c:v>30.96</c:v>
                </c:pt>
                <c:pt idx="353">
                  <c:v>31.3</c:v>
                </c:pt>
                <c:pt idx="354">
                  <c:v>32.32</c:v>
                </c:pt>
                <c:pt idx="355">
                  <c:v>31.12</c:v>
                </c:pt>
                <c:pt idx="356">
                  <c:v>30.4</c:v>
                </c:pt>
                <c:pt idx="357">
                  <c:v>30.55</c:v>
                </c:pt>
                <c:pt idx="358">
                  <c:v>30.76</c:v>
                </c:pt>
                <c:pt idx="359">
                  <c:v>30.46</c:v>
                </c:pt>
                <c:pt idx="360">
                  <c:v>31.37</c:v>
                </c:pt>
                <c:pt idx="361">
                  <c:v>32.1</c:v>
                </c:pt>
                <c:pt idx="362">
                  <c:v>31.97</c:v>
                </c:pt>
                <c:pt idx="363">
                  <c:v>33.619999999999997</c:v>
                </c:pt>
                <c:pt idx="364">
                  <c:v>34.159999999999997</c:v>
                </c:pt>
                <c:pt idx="365">
                  <c:v>34.25</c:v>
                </c:pt>
                <c:pt idx="366">
                  <c:v>36.36</c:v>
                </c:pt>
                <c:pt idx="367">
                  <c:v>35.770000000000003</c:v>
                </c:pt>
                <c:pt idx="368">
                  <c:v>35.93</c:v>
                </c:pt>
                <c:pt idx="369">
                  <c:v>35.03</c:v>
                </c:pt>
                <c:pt idx="370">
                  <c:v>34.42</c:v>
                </c:pt>
                <c:pt idx="371">
                  <c:v>34.51</c:v>
                </c:pt>
                <c:pt idx="372">
                  <c:v>34.21</c:v>
                </c:pt>
                <c:pt idx="373">
                  <c:v>33.46</c:v>
                </c:pt>
                <c:pt idx="374">
                  <c:v>35.270000000000003</c:v>
                </c:pt>
                <c:pt idx="375">
                  <c:v>35.15</c:v>
                </c:pt>
                <c:pt idx="376">
                  <c:v>36.86</c:v>
                </c:pt>
                <c:pt idx="377">
                  <c:v>35.65</c:v>
                </c:pt>
                <c:pt idx="378">
                  <c:v>37.700000000000003</c:v>
                </c:pt>
                <c:pt idx="379">
                  <c:v>38.01</c:v>
                </c:pt>
                <c:pt idx="380">
                  <c:v>39.409999999999997</c:v>
                </c:pt>
                <c:pt idx="381">
                  <c:v>40.17</c:v>
                </c:pt>
                <c:pt idx="382">
                  <c:v>40.31</c:v>
                </c:pt>
                <c:pt idx="383">
                  <c:v>40.07</c:v>
                </c:pt>
                <c:pt idx="384">
                  <c:v>39.58</c:v>
                </c:pt>
                <c:pt idx="385">
                  <c:v>39.799999999999997</c:v>
                </c:pt>
                <c:pt idx="386">
                  <c:v>38.26</c:v>
                </c:pt>
                <c:pt idx="387">
                  <c:v>40.4</c:v>
                </c:pt>
                <c:pt idx="388">
                  <c:v>40.78</c:v>
                </c:pt>
                <c:pt idx="389">
                  <c:v>39.82</c:v>
                </c:pt>
                <c:pt idx="390">
                  <c:v>40.270000000000003</c:v>
                </c:pt>
                <c:pt idx="391">
                  <c:v>39.479999999999997</c:v>
                </c:pt>
                <c:pt idx="392">
                  <c:v>39.979999999999997</c:v>
                </c:pt>
                <c:pt idx="393">
                  <c:v>40.450000000000003</c:v>
                </c:pt>
                <c:pt idx="394">
                  <c:v>40.799999999999997</c:v>
                </c:pt>
                <c:pt idx="395">
                  <c:v>40.33</c:v>
                </c:pt>
                <c:pt idx="396">
                  <c:v>40.81</c:v>
                </c:pt>
                <c:pt idx="397">
                  <c:v>38.89</c:v>
                </c:pt>
                <c:pt idx="398">
                  <c:v>36.590000000000003</c:v>
                </c:pt>
                <c:pt idx="399">
                  <c:v>35.020000000000003</c:v>
                </c:pt>
                <c:pt idx="400">
                  <c:v>34.99</c:v>
                </c:pt>
                <c:pt idx="401">
                  <c:v>34.42</c:v>
                </c:pt>
                <c:pt idx="402">
                  <c:v>35.31</c:v>
                </c:pt>
                <c:pt idx="403">
                  <c:v>36.270000000000003</c:v>
                </c:pt>
                <c:pt idx="404">
                  <c:v>36.22</c:v>
                </c:pt>
                <c:pt idx="405">
                  <c:v>36.9</c:v>
                </c:pt>
                <c:pt idx="406">
                  <c:v>36.770000000000003</c:v>
                </c:pt>
                <c:pt idx="407">
                  <c:v>36.299999999999997</c:v>
                </c:pt>
                <c:pt idx="408">
                  <c:v>37.130000000000003</c:v>
                </c:pt>
                <c:pt idx="409">
                  <c:v>34.58</c:v>
                </c:pt>
                <c:pt idx="410">
                  <c:v>34.909999999999997</c:v>
                </c:pt>
                <c:pt idx="411">
                  <c:v>35.47</c:v>
                </c:pt>
                <c:pt idx="412">
                  <c:v>34.270000000000003</c:v>
                </c:pt>
                <c:pt idx="413">
                  <c:v>34.61</c:v>
                </c:pt>
                <c:pt idx="414">
                  <c:v>34.6</c:v>
                </c:pt>
                <c:pt idx="415">
                  <c:v>35.619999999999997</c:v>
                </c:pt>
                <c:pt idx="416">
                  <c:v>36.54</c:v>
                </c:pt>
                <c:pt idx="417">
                  <c:v>37.700000000000003</c:v>
                </c:pt>
                <c:pt idx="418">
                  <c:v>37.18</c:v>
                </c:pt>
                <c:pt idx="419">
                  <c:v>37.82</c:v>
                </c:pt>
                <c:pt idx="420">
                  <c:v>36.56</c:v>
                </c:pt>
                <c:pt idx="421">
                  <c:v>37.4</c:v>
                </c:pt>
                <c:pt idx="422">
                  <c:v>36.96</c:v>
                </c:pt>
                <c:pt idx="423">
                  <c:v>37.69</c:v>
                </c:pt>
                <c:pt idx="424">
                  <c:v>38.44</c:v>
                </c:pt>
                <c:pt idx="425">
                  <c:v>35.799999999999997</c:v>
                </c:pt>
                <c:pt idx="426">
                  <c:v>36.54</c:v>
                </c:pt>
                <c:pt idx="427">
                  <c:v>35.72</c:v>
                </c:pt>
                <c:pt idx="428">
                  <c:v>34.880000000000003</c:v>
                </c:pt>
                <c:pt idx="429">
                  <c:v>34.9</c:v>
                </c:pt>
                <c:pt idx="430">
                  <c:v>36.49</c:v>
                </c:pt>
                <c:pt idx="431">
                  <c:v>36.06</c:v>
                </c:pt>
                <c:pt idx="432">
                  <c:v>34.119999999999997</c:v>
                </c:pt>
                <c:pt idx="433">
                  <c:v>35.590000000000003</c:v>
                </c:pt>
                <c:pt idx="434">
                  <c:v>36.33</c:v>
                </c:pt>
                <c:pt idx="435">
                  <c:v>36.46</c:v>
                </c:pt>
                <c:pt idx="436">
                  <c:v>36.03</c:v>
                </c:pt>
                <c:pt idx="437">
                  <c:v>37</c:v>
                </c:pt>
                <c:pt idx="439">
                  <c:v>34.020000000000003</c:v>
                </c:pt>
                <c:pt idx="440">
                  <c:v>32.880000000000003</c:v>
                </c:pt>
                <c:pt idx="441">
                  <c:v>29.95</c:v>
                </c:pt>
                <c:pt idx="442">
                  <c:v>31.8</c:v>
                </c:pt>
                <c:pt idx="443">
                  <c:v>34.049999999999997</c:v>
                </c:pt>
                <c:pt idx="444">
                  <c:v>34.799999999999997</c:v>
                </c:pt>
                <c:pt idx="445">
                  <c:v>34.78</c:v>
                </c:pt>
                <c:pt idx="446">
                  <c:v>33.86</c:v>
                </c:pt>
                <c:pt idx="447">
                  <c:v>33.22</c:v>
                </c:pt>
                <c:pt idx="448">
                  <c:v>33.42</c:v>
                </c:pt>
                <c:pt idx="449">
                  <c:v>31.83</c:v>
                </c:pt>
                <c:pt idx="450">
                  <c:v>30.54</c:v>
                </c:pt>
                <c:pt idx="451">
                  <c:v>29.84</c:v>
                </c:pt>
                <c:pt idx="452">
                  <c:v>30.64</c:v>
                </c:pt>
                <c:pt idx="453">
                  <c:v>31.46</c:v>
                </c:pt>
                <c:pt idx="454">
                  <c:v>30.2</c:v>
                </c:pt>
                <c:pt idx="455">
                  <c:v>30.61</c:v>
                </c:pt>
                <c:pt idx="456">
                  <c:v>29.96</c:v>
                </c:pt>
                <c:pt idx="457">
                  <c:v>29.87</c:v>
                </c:pt>
                <c:pt idx="458">
                  <c:v>28.9</c:v>
                </c:pt>
                <c:pt idx="459">
                  <c:v>28.14</c:v>
                </c:pt>
                <c:pt idx="460">
                  <c:v>27.27</c:v>
                </c:pt>
                <c:pt idx="461">
                  <c:v>27.69</c:v>
                </c:pt>
                <c:pt idx="462">
                  <c:v>27</c:v>
                </c:pt>
                <c:pt idx="463">
                  <c:v>28.09</c:v>
                </c:pt>
                <c:pt idx="464">
                  <c:v>28.03</c:v>
                </c:pt>
                <c:pt idx="465">
                  <c:v>27.73</c:v>
                </c:pt>
                <c:pt idx="466">
                  <c:v>29.01</c:v>
                </c:pt>
                <c:pt idx="467">
                  <c:v>28.95</c:v>
                </c:pt>
                <c:pt idx="468">
                  <c:v>29.1</c:v>
                </c:pt>
                <c:pt idx="469">
                  <c:v>29.8</c:v>
                </c:pt>
                <c:pt idx="470">
                  <c:v>30.84</c:v>
                </c:pt>
                <c:pt idx="471">
                  <c:v>30.01</c:v>
                </c:pt>
                <c:pt idx="472">
                  <c:v>30.12</c:v>
                </c:pt>
                <c:pt idx="473">
                  <c:v>29.97</c:v>
                </c:pt>
                <c:pt idx="474">
                  <c:v>29.01</c:v>
                </c:pt>
                <c:pt idx="475">
                  <c:v>29.22</c:v>
                </c:pt>
                <c:pt idx="476">
                  <c:v>29.31</c:v>
                </c:pt>
                <c:pt idx="477">
                  <c:v>29.57</c:v>
                </c:pt>
                <c:pt idx="478">
                  <c:v>30.18</c:v>
                </c:pt>
                <c:pt idx="479">
                  <c:v>29.87</c:v>
                </c:pt>
                <c:pt idx="480">
                  <c:v>30.06</c:v>
                </c:pt>
                <c:pt idx="481">
                  <c:v>30.35</c:v>
                </c:pt>
                <c:pt idx="482">
                  <c:v>29.03</c:v>
                </c:pt>
                <c:pt idx="483">
                  <c:v>29.97</c:v>
                </c:pt>
                <c:pt idx="495">
                  <c:v>34.01</c:v>
                </c:pt>
                <c:pt idx="496">
                  <c:v>35.28</c:v>
                </c:pt>
                <c:pt idx="497">
                  <c:v>32.29</c:v>
                </c:pt>
                <c:pt idx="498">
                  <c:v>30.7</c:v>
                </c:pt>
                <c:pt idx="499">
                  <c:v>30.63</c:v>
                </c:pt>
                <c:pt idx="500">
                  <c:v>29.13</c:v>
                </c:pt>
                <c:pt idx="501">
                  <c:v>29.57</c:v>
                </c:pt>
                <c:pt idx="502">
                  <c:v>29.81</c:v>
                </c:pt>
                <c:pt idx="503">
                  <c:v>29.52</c:v>
                </c:pt>
                <c:pt idx="504">
                  <c:v>28.33</c:v>
                </c:pt>
                <c:pt idx="505">
                  <c:v>28.85</c:v>
                </c:pt>
                <c:pt idx="506">
                  <c:v>30.81</c:v>
                </c:pt>
                <c:pt idx="507">
                  <c:v>30.13</c:v>
                </c:pt>
                <c:pt idx="508">
                  <c:v>30.44</c:v>
                </c:pt>
                <c:pt idx="509">
                  <c:v>30.19</c:v>
                </c:pt>
                <c:pt idx="510">
                  <c:v>32.89</c:v>
                </c:pt>
                <c:pt idx="511">
                  <c:v>29.34</c:v>
                </c:pt>
                <c:pt idx="512">
                  <c:v>29.85</c:v>
                </c:pt>
                <c:pt idx="513">
                  <c:v>30.26</c:v>
                </c:pt>
                <c:pt idx="514">
                  <c:v>31.6</c:v>
                </c:pt>
                <c:pt idx="515">
                  <c:v>30.86</c:v>
                </c:pt>
                <c:pt idx="516">
                  <c:v>31.56</c:v>
                </c:pt>
                <c:pt idx="517">
                  <c:v>30.56</c:v>
                </c:pt>
                <c:pt idx="518">
                  <c:v>30.8</c:v>
                </c:pt>
                <c:pt idx="519">
                  <c:v>32.19</c:v>
                </c:pt>
                <c:pt idx="520">
                  <c:v>32.770000000000003</c:v>
                </c:pt>
                <c:pt idx="521">
                  <c:v>33.479999999999997</c:v>
                </c:pt>
                <c:pt idx="522">
                  <c:v>35.24</c:v>
                </c:pt>
                <c:pt idx="523">
                  <c:v>34.35</c:v>
                </c:pt>
                <c:pt idx="524">
                  <c:v>33.43</c:v>
                </c:pt>
                <c:pt idx="525">
                  <c:v>33.840000000000003</c:v>
                </c:pt>
                <c:pt idx="526">
                  <c:v>34.58</c:v>
                </c:pt>
                <c:pt idx="527">
                  <c:v>37.42</c:v>
                </c:pt>
                <c:pt idx="528">
                  <c:v>38.369999999999997</c:v>
                </c:pt>
                <c:pt idx="529">
                  <c:v>38.82</c:v>
                </c:pt>
                <c:pt idx="530">
                  <c:v>37.99</c:v>
                </c:pt>
                <c:pt idx="531">
                  <c:v>41</c:v>
                </c:pt>
                <c:pt idx="532">
                  <c:v>39.200000000000003</c:v>
                </c:pt>
                <c:pt idx="533">
                  <c:v>38.869999999999997</c:v>
                </c:pt>
                <c:pt idx="534">
                  <c:v>39.130000000000003</c:v>
                </c:pt>
                <c:pt idx="535">
                  <c:v>39.89</c:v>
                </c:pt>
                <c:pt idx="536">
                  <c:v>39.880000000000003</c:v>
                </c:pt>
                <c:pt idx="537">
                  <c:v>42.01</c:v>
                </c:pt>
                <c:pt idx="538">
                  <c:v>42.07</c:v>
                </c:pt>
                <c:pt idx="539">
                  <c:v>41.53</c:v>
                </c:pt>
                <c:pt idx="540">
                  <c:v>40.369999999999997</c:v>
                </c:pt>
                <c:pt idx="541">
                  <c:v>42.05</c:v>
                </c:pt>
                <c:pt idx="542">
                  <c:v>42.92</c:v>
                </c:pt>
                <c:pt idx="543">
                  <c:v>41.76</c:v>
                </c:pt>
                <c:pt idx="544">
                  <c:v>39.799999999999997</c:v>
                </c:pt>
                <c:pt idx="545">
                  <c:v>40.35</c:v>
                </c:pt>
                <c:pt idx="546">
                  <c:v>38.380000000000003</c:v>
                </c:pt>
                <c:pt idx="547">
                  <c:v>39.409999999999997</c:v>
                </c:pt>
                <c:pt idx="548">
                  <c:v>39.049999999999997</c:v>
                </c:pt>
                <c:pt idx="549">
                  <c:v>37.619999999999997</c:v>
                </c:pt>
                <c:pt idx="550">
                  <c:v>38.950000000000003</c:v>
                </c:pt>
                <c:pt idx="551">
                  <c:v>39.81</c:v>
                </c:pt>
                <c:pt idx="552">
                  <c:v>40.89</c:v>
                </c:pt>
                <c:pt idx="553">
                  <c:v>39.549999999999997</c:v>
                </c:pt>
                <c:pt idx="554">
                  <c:v>42</c:v>
                </c:pt>
                <c:pt idx="555">
                  <c:v>41.32</c:v>
                </c:pt>
                <c:pt idx="556">
                  <c:v>42.54</c:v>
                </c:pt>
                <c:pt idx="557">
                  <c:v>40.94</c:v>
                </c:pt>
                <c:pt idx="558">
                  <c:v>39.21</c:v>
                </c:pt>
                <c:pt idx="559">
                  <c:v>38.94</c:v>
                </c:pt>
                <c:pt idx="560">
                  <c:v>39.92</c:v>
                </c:pt>
                <c:pt idx="563">
                  <c:v>39.229999999999997</c:v>
                </c:pt>
                <c:pt idx="564">
                  <c:v>39.979999999999997</c:v>
                </c:pt>
                <c:pt idx="565">
                  <c:v>40.119999999999997</c:v>
                </c:pt>
                <c:pt idx="566">
                  <c:v>40.47</c:v>
                </c:pt>
                <c:pt idx="567">
                  <c:v>40.64</c:v>
                </c:pt>
                <c:pt idx="568">
                  <c:v>41.17</c:v>
                </c:pt>
                <c:pt idx="569">
                  <c:v>40.56</c:v>
                </c:pt>
                <c:pt idx="570">
                  <c:v>40.869999999999997</c:v>
                </c:pt>
                <c:pt idx="571">
                  <c:v>40.71</c:v>
                </c:pt>
                <c:pt idx="572">
                  <c:v>41.27</c:v>
                </c:pt>
                <c:pt idx="573">
                  <c:v>41.73</c:v>
                </c:pt>
                <c:pt idx="574">
                  <c:v>41.19</c:v>
                </c:pt>
                <c:pt idx="575">
                  <c:v>41.85</c:v>
                </c:pt>
                <c:pt idx="576">
                  <c:v>42.48</c:v>
                </c:pt>
                <c:pt idx="577">
                  <c:v>41.68</c:v>
                </c:pt>
                <c:pt idx="578">
                  <c:v>42.05</c:v>
                </c:pt>
                <c:pt idx="579">
                  <c:v>42.28</c:v>
                </c:pt>
                <c:pt idx="580">
                  <c:v>42.65</c:v>
                </c:pt>
                <c:pt idx="581">
                  <c:v>42.62</c:v>
                </c:pt>
                <c:pt idx="582">
                  <c:v>43.1</c:v>
                </c:pt>
                <c:pt idx="583">
                  <c:v>42.29</c:v>
                </c:pt>
                <c:pt idx="584">
                  <c:v>42.86</c:v>
                </c:pt>
                <c:pt idx="585">
                  <c:v>43.84</c:v>
                </c:pt>
                <c:pt idx="586">
                  <c:v>42.42</c:v>
                </c:pt>
                <c:pt idx="587">
                  <c:v>43.17</c:v>
                </c:pt>
                <c:pt idx="588">
                  <c:v>43.48</c:v>
                </c:pt>
                <c:pt idx="589">
                  <c:v>44.17</c:v>
                </c:pt>
                <c:pt idx="590">
                  <c:v>43.06</c:v>
                </c:pt>
                <c:pt idx="591">
                  <c:v>46.19</c:v>
                </c:pt>
                <c:pt idx="592">
                  <c:v>42.3</c:v>
                </c:pt>
                <c:pt idx="593">
                  <c:v>45.59</c:v>
                </c:pt>
                <c:pt idx="594">
                  <c:v>40.67</c:v>
                </c:pt>
                <c:pt idx="595">
                  <c:v>38.04</c:v>
                </c:pt>
                <c:pt idx="596">
                  <c:v>38.89</c:v>
                </c:pt>
                <c:pt idx="597">
                  <c:v>39</c:v>
                </c:pt>
                <c:pt idx="598">
                  <c:v>37.409999999999997</c:v>
                </c:pt>
                <c:pt idx="599">
                  <c:v>39.21</c:v>
                </c:pt>
                <c:pt idx="600">
                  <c:v>38.82</c:v>
                </c:pt>
                <c:pt idx="601">
                  <c:v>38.369999999999997</c:v>
                </c:pt>
                <c:pt idx="602">
                  <c:v>39.5</c:v>
                </c:pt>
                <c:pt idx="603">
                  <c:v>39.020000000000003</c:v>
                </c:pt>
                <c:pt idx="604">
                  <c:v>39.78</c:v>
                </c:pt>
                <c:pt idx="605">
                  <c:v>40.31</c:v>
                </c:pt>
                <c:pt idx="606">
                  <c:v>39.24</c:v>
                </c:pt>
                <c:pt idx="607">
                  <c:v>38.46</c:v>
                </c:pt>
                <c:pt idx="608">
                  <c:v>38.69</c:v>
                </c:pt>
                <c:pt idx="609">
                  <c:v>38.659999999999997</c:v>
                </c:pt>
                <c:pt idx="610">
                  <c:v>38.08</c:v>
                </c:pt>
                <c:pt idx="611">
                  <c:v>36.68</c:v>
                </c:pt>
                <c:pt idx="612">
                  <c:v>39.15</c:v>
                </c:pt>
                <c:pt idx="613">
                  <c:v>37.39</c:v>
                </c:pt>
                <c:pt idx="614">
                  <c:v>37.979999999999997</c:v>
                </c:pt>
                <c:pt idx="615">
                  <c:v>37.729999999999997</c:v>
                </c:pt>
                <c:pt idx="620">
                  <c:v>39.32</c:v>
                </c:pt>
                <c:pt idx="621">
                  <c:v>39.090000000000003</c:v>
                </c:pt>
                <c:pt idx="622">
                  <c:v>38.85</c:v>
                </c:pt>
                <c:pt idx="623">
                  <c:v>39.049999999999997</c:v>
                </c:pt>
                <c:pt idx="624">
                  <c:v>39.619999999999997</c:v>
                </c:pt>
                <c:pt idx="625">
                  <c:v>43.11</c:v>
                </c:pt>
                <c:pt idx="626">
                  <c:v>39.4</c:v>
                </c:pt>
                <c:pt idx="627">
                  <c:v>38.47</c:v>
                </c:pt>
                <c:pt idx="628">
                  <c:v>38.01</c:v>
                </c:pt>
                <c:pt idx="629">
                  <c:v>37.950000000000003</c:v>
                </c:pt>
                <c:pt idx="630">
                  <c:v>39.06</c:v>
                </c:pt>
                <c:pt idx="631">
                  <c:v>38.340000000000003</c:v>
                </c:pt>
                <c:pt idx="632">
                  <c:v>39.01</c:v>
                </c:pt>
                <c:pt idx="633">
                  <c:v>38.479999999999997</c:v>
                </c:pt>
                <c:pt idx="634">
                  <c:v>38.33</c:v>
                </c:pt>
                <c:pt idx="635">
                  <c:v>38.43</c:v>
                </c:pt>
                <c:pt idx="636">
                  <c:v>38.86</c:v>
                </c:pt>
                <c:pt idx="637">
                  <c:v>36.42</c:v>
                </c:pt>
                <c:pt idx="638">
                  <c:v>35.57</c:v>
                </c:pt>
                <c:pt idx="639">
                  <c:v>36.31</c:v>
                </c:pt>
                <c:pt idx="640">
                  <c:v>34.43</c:v>
                </c:pt>
                <c:pt idx="641">
                  <c:v>36.65</c:v>
                </c:pt>
                <c:pt idx="642">
                  <c:v>36.119999999999997</c:v>
                </c:pt>
                <c:pt idx="643">
                  <c:v>36.61</c:v>
                </c:pt>
                <c:pt idx="644">
                  <c:v>36.53</c:v>
                </c:pt>
                <c:pt idx="645">
                  <c:v>35.79</c:v>
                </c:pt>
                <c:pt idx="646">
                  <c:v>37.090000000000003</c:v>
                </c:pt>
                <c:pt idx="647">
                  <c:v>35.5</c:v>
                </c:pt>
                <c:pt idx="648">
                  <c:v>35.67</c:v>
                </c:pt>
                <c:pt idx="649">
                  <c:v>35.04</c:v>
                </c:pt>
                <c:pt idx="650">
                  <c:v>33.340000000000003</c:v>
                </c:pt>
                <c:pt idx="651">
                  <c:v>32.1</c:v>
                </c:pt>
                <c:pt idx="652">
                  <c:v>31.57</c:v>
                </c:pt>
                <c:pt idx="653">
                  <c:v>31.31</c:v>
                </c:pt>
                <c:pt idx="654">
                  <c:v>28.21</c:v>
                </c:pt>
                <c:pt idx="655">
                  <c:v>32.159999999999997</c:v>
                </c:pt>
                <c:pt idx="656">
                  <c:v>31.07</c:v>
                </c:pt>
                <c:pt idx="657">
                  <c:v>30.94</c:v>
                </c:pt>
                <c:pt idx="658">
                  <c:v>32.76</c:v>
                </c:pt>
                <c:pt idx="659">
                  <c:v>32.049999999999997</c:v>
                </c:pt>
                <c:pt idx="660">
                  <c:v>31.58</c:v>
                </c:pt>
                <c:pt idx="661">
                  <c:v>31.28</c:v>
                </c:pt>
                <c:pt idx="662">
                  <c:v>34.67</c:v>
                </c:pt>
                <c:pt idx="663">
                  <c:v>30.97</c:v>
                </c:pt>
                <c:pt idx="664">
                  <c:v>34.26</c:v>
                </c:pt>
                <c:pt idx="665">
                  <c:v>33.869999999999997</c:v>
                </c:pt>
                <c:pt idx="666">
                  <c:v>34.520000000000003</c:v>
                </c:pt>
                <c:pt idx="667">
                  <c:v>34.81</c:v>
                </c:pt>
                <c:pt idx="668">
                  <c:v>33.99</c:v>
                </c:pt>
                <c:pt idx="669">
                  <c:v>33.950000000000003</c:v>
                </c:pt>
                <c:pt idx="670">
                  <c:v>32.75</c:v>
                </c:pt>
                <c:pt idx="671">
                  <c:v>34.01</c:v>
                </c:pt>
                <c:pt idx="672">
                  <c:v>32.69</c:v>
                </c:pt>
                <c:pt idx="673">
                  <c:v>32.49</c:v>
                </c:pt>
                <c:pt idx="674">
                  <c:v>32.590000000000003</c:v>
                </c:pt>
                <c:pt idx="675">
                  <c:v>34.14</c:v>
                </c:pt>
                <c:pt idx="676">
                  <c:v>33.25</c:v>
                </c:pt>
                <c:pt idx="677">
                  <c:v>34.74</c:v>
                </c:pt>
                <c:pt idx="678">
                  <c:v>33.130000000000003</c:v>
                </c:pt>
                <c:pt idx="679">
                  <c:v>32.89</c:v>
                </c:pt>
                <c:pt idx="680">
                  <c:v>33.85</c:v>
                </c:pt>
                <c:pt idx="681">
                  <c:v>33.659999999999997</c:v>
                </c:pt>
                <c:pt idx="682">
                  <c:v>33.840000000000003</c:v>
                </c:pt>
                <c:pt idx="683">
                  <c:v>34.29</c:v>
                </c:pt>
                <c:pt idx="684">
                  <c:v>33.700000000000003</c:v>
                </c:pt>
                <c:pt idx="685">
                  <c:v>35.57</c:v>
                </c:pt>
                <c:pt idx="686">
                  <c:v>35.75</c:v>
                </c:pt>
                <c:pt idx="687">
                  <c:v>35.9</c:v>
                </c:pt>
                <c:pt idx="688">
                  <c:v>36.49</c:v>
                </c:pt>
                <c:pt idx="689">
                  <c:v>37.159999999999997</c:v>
                </c:pt>
                <c:pt idx="690">
                  <c:v>35.729999999999997</c:v>
                </c:pt>
                <c:pt idx="691">
                  <c:v>35.08</c:v>
                </c:pt>
                <c:pt idx="692">
                  <c:v>35.1</c:v>
                </c:pt>
                <c:pt idx="693">
                  <c:v>32.56</c:v>
                </c:pt>
                <c:pt idx="694">
                  <c:v>29.8</c:v>
                </c:pt>
                <c:pt idx="695">
                  <c:v>29.7</c:v>
                </c:pt>
                <c:pt idx="696">
                  <c:v>29.66</c:v>
                </c:pt>
                <c:pt idx="697">
                  <c:v>28.87</c:v>
                </c:pt>
                <c:pt idx="698">
                  <c:v>29.84</c:v>
                </c:pt>
                <c:pt idx="699">
                  <c:v>29.59</c:v>
                </c:pt>
                <c:pt idx="700">
                  <c:v>32.26</c:v>
                </c:pt>
                <c:pt idx="701">
                  <c:v>31.88</c:v>
                </c:pt>
                <c:pt idx="702">
                  <c:v>30.15</c:v>
                </c:pt>
                <c:pt idx="703">
                  <c:v>32.159999999999997</c:v>
                </c:pt>
                <c:pt idx="704">
                  <c:v>32.1</c:v>
                </c:pt>
                <c:pt idx="705">
                  <c:v>32.36</c:v>
                </c:pt>
                <c:pt idx="706">
                  <c:v>31.65</c:v>
                </c:pt>
                <c:pt idx="707">
                  <c:v>30.17</c:v>
                </c:pt>
                <c:pt idx="708">
                  <c:v>32.119999999999997</c:v>
                </c:pt>
                <c:pt idx="709">
                  <c:v>30.95</c:v>
                </c:pt>
                <c:pt idx="710">
                  <c:v>30.64</c:v>
                </c:pt>
                <c:pt idx="711">
                  <c:v>30.51</c:v>
                </c:pt>
                <c:pt idx="712">
                  <c:v>32.270000000000003</c:v>
                </c:pt>
                <c:pt idx="713">
                  <c:v>31.48</c:v>
                </c:pt>
                <c:pt idx="714">
                  <c:v>31.51</c:v>
                </c:pt>
                <c:pt idx="715">
                  <c:v>31.43</c:v>
                </c:pt>
                <c:pt idx="716">
                  <c:v>31.92</c:v>
                </c:pt>
                <c:pt idx="717">
                  <c:v>31.17</c:v>
                </c:pt>
                <c:pt idx="718">
                  <c:v>31.81</c:v>
                </c:pt>
                <c:pt idx="719">
                  <c:v>30.98</c:v>
                </c:pt>
                <c:pt idx="720">
                  <c:v>31.23</c:v>
                </c:pt>
                <c:pt idx="721">
                  <c:v>29.91</c:v>
                </c:pt>
                <c:pt idx="722">
                  <c:v>32.06</c:v>
                </c:pt>
                <c:pt idx="723">
                  <c:v>30.75</c:v>
                </c:pt>
                <c:pt idx="724">
                  <c:v>31.21</c:v>
                </c:pt>
                <c:pt idx="725">
                  <c:v>32.21</c:v>
                </c:pt>
                <c:pt idx="726">
                  <c:v>32.799999999999997</c:v>
                </c:pt>
                <c:pt idx="727">
                  <c:v>32.840000000000003</c:v>
                </c:pt>
                <c:pt idx="728">
                  <c:v>32.97</c:v>
                </c:pt>
                <c:pt idx="729">
                  <c:v>30.95</c:v>
                </c:pt>
                <c:pt idx="730">
                  <c:v>32.42</c:v>
                </c:pt>
                <c:pt idx="731">
                  <c:v>32.81</c:v>
                </c:pt>
                <c:pt idx="732">
                  <c:v>33.07</c:v>
                </c:pt>
                <c:pt idx="733">
                  <c:v>32.4</c:v>
                </c:pt>
                <c:pt idx="734">
                  <c:v>34.08</c:v>
                </c:pt>
                <c:pt idx="735">
                  <c:v>36.130000000000003</c:v>
                </c:pt>
                <c:pt idx="736">
                  <c:v>35.31</c:v>
                </c:pt>
                <c:pt idx="737">
                  <c:v>35.51</c:v>
                </c:pt>
                <c:pt idx="738">
                  <c:v>34.590000000000003</c:v>
                </c:pt>
                <c:pt idx="739">
                  <c:v>33.04</c:v>
                </c:pt>
                <c:pt idx="740">
                  <c:v>32.17</c:v>
                </c:pt>
                <c:pt idx="741">
                  <c:v>33.24</c:v>
                </c:pt>
                <c:pt idx="742">
                  <c:v>32.51</c:v>
                </c:pt>
                <c:pt idx="743">
                  <c:v>33.659999999999997</c:v>
                </c:pt>
                <c:pt idx="744">
                  <c:v>31.54</c:v>
                </c:pt>
                <c:pt idx="745">
                  <c:v>33.479999999999997</c:v>
                </c:pt>
                <c:pt idx="746">
                  <c:v>34.270000000000003</c:v>
                </c:pt>
                <c:pt idx="747">
                  <c:v>34.92</c:v>
                </c:pt>
                <c:pt idx="748">
                  <c:v>34.46</c:v>
                </c:pt>
                <c:pt idx="749">
                  <c:v>36.71</c:v>
                </c:pt>
                <c:pt idx="750">
                  <c:v>36.83</c:v>
                </c:pt>
                <c:pt idx="751">
                  <c:v>36.340000000000003</c:v>
                </c:pt>
                <c:pt idx="752">
                  <c:v>35.700000000000003</c:v>
                </c:pt>
                <c:pt idx="753">
                  <c:v>35.24</c:v>
                </c:pt>
                <c:pt idx="754">
                  <c:v>37.06</c:v>
                </c:pt>
                <c:pt idx="755">
                  <c:v>35.04</c:v>
                </c:pt>
                <c:pt idx="756">
                  <c:v>34.92</c:v>
                </c:pt>
                <c:pt idx="757">
                  <c:v>34.81</c:v>
                </c:pt>
                <c:pt idx="758">
                  <c:v>34.840000000000003</c:v>
                </c:pt>
                <c:pt idx="759">
                  <c:v>33.58</c:v>
                </c:pt>
                <c:pt idx="760">
                  <c:v>36.33</c:v>
                </c:pt>
                <c:pt idx="761">
                  <c:v>35.24</c:v>
                </c:pt>
                <c:pt idx="762">
                  <c:v>36.46</c:v>
                </c:pt>
                <c:pt idx="763">
                  <c:v>36.17</c:v>
                </c:pt>
                <c:pt idx="764">
                  <c:v>36.19</c:v>
                </c:pt>
                <c:pt idx="765">
                  <c:v>37.79</c:v>
                </c:pt>
                <c:pt idx="766">
                  <c:v>37.520000000000003</c:v>
                </c:pt>
                <c:pt idx="767">
                  <c:v>38.93</c:v>
                </c:pt>
                <c:pt idx="768">
                  <c:v>38.32</c:v>
                </c:pt>
                <c:pt idx="769">
                  <c:v>37.75</c:v>
                </c:pt>
                <c:pt idx="770">
                  <c:v>36.520000000000003</c:v>
                </c:pt>
                <c:pt idx="771">
                  <c:v>37.76</c:v>
                </c:pt>
                <c:pt idx="773">
                  <c:v>37.92</c:v>
                </c:pt>
                <c:pt idx="774">
                  <c:v>41.02</c:v>
                </c:pt>
                <c:pt idx="775">
                  <c:v>41.43</c:v>
                </c:pt>
                <c:pt idx="776">
                  <c:v>41.12</c:v>
                </c:pt>
                <c:pt idx="777">
                  <c:v>41.51</c:v>
                </c:pt>
                <c:pt idx="778">
                  <c:v>41.16</c:v>
                </c:pt>
                <c:pt idx="779">
                  <c:v>43.38</c:v>
                </c:pt>
                <c:pt idx="780">
                  <c:v>42.55</c:v>
                </c:pt>
                <c:pt idx="781">
                  <c:v>41.48</c:v>
                </c:pt>
                <c:pt idx="782">
                  <c:v>41.91</c:v>
                </c:pt>
                <c:pt idx="783">
                  <c:v>39.1</c:v>
                </c:pt>
                <c:pt idx="784">
                  <c:v>39.22</c:v>
                </c:pt>
                <c:pt idx="785">
                  <c:v>42.58</c:v>
                </c:pt>
                <c:pt idx="786">
                  <c:v>42.82</c:v>
                </c:pt>
                <c:pt idx="787">
                  <c:v>41.28</c:v>
                </c:pt>
                <c:pt idx="788">
                  <c:v>40.1</c:v>
                </c:pt>
                <c:pt idx="789">
                  <c:v>38.89</c:v>
                </c:pt>
                <c:pt idx="790">
                  <c:v>39.33</c:v>
                </c:pt>
                <c:pt idx="791">
                  <c:v>42.83</c:v>
                </c:pt>
                <c:pt idx="792">
                  <c:v>43.85</c:v>
                </c:pt>
                <c:pt idx="793">
                  <c:v>43.96</c:v>
                </c:pt>
                <c:pt idx="794">
                  <c:v>44.38</c:v>
                </c:pt>
                <c:pt idx="795">
                  <c:v>43.33</c:v>
                </c:pt>
                <c:pt idx="796">
                  <c:v>45.67</c:v>
                </c:pt>
                <c:pt idx="797">
                  <c:v>45.16</c:v>
                </c:pt>
                <c:pt idx="798">
                  <c:v>42.87</c:v>
                </c:pt>
                <c:pt idx="799">
                  <c:v>44.98</c:v>
                </c:pt>
                <c:pt idx="800">
                  <c:v>42.82</c:v>
                </c:pt>
                <c:pt idx="801">
                  <c:v>42.62</c:v>
                </c:pt>
                <c:pt idx="802">
                  <c:v>43.96</c:v>
                </c:pt>
                <c:pt idx="803">
                  <c:v>42.2</c:v>
                </c:pt>
                <c:pt idx="804">
                  <c:v>41.6</c:v>
                </c:pt>
                <c:pt idx="805" formatCode="General">
                  <c:v>43.77</c:v>
                </c:pt>
                <c:pt idx="806" formatCode="General">
                  <c:v>42.3</c:v>
                </c:pt>
                <c:pt idx="807" formatCode="General">
                  <c:v>44.54</c:v>
                </c:pt>
              </c:numCache>
            </c:numRef>
          </c:val>
          <c:smooth val="0"/>
          <c:extLst>
            <c:ext xmlns:c16="http://schemas.microsoft.com/office/drawing/2014/chart" uri="{C3380CC4-5D6E-409C-BE32-E72D297353CC}">
              <c16:uniqueId val="{00000000-EBF6-48B4-870B-11CA88E8334E}"/>
            </c:ext>
          </c:extLst>
        </c:ser>
        <c:dLbls>
          <c:showLegendKey val="0"/>
          <c:showVal val="0"/>
          <c:showCatName val="0"/>
          <c:showSerName val="0"/>
          <c:showPercent val="0"/>
          <c:showBubbleSize val="0"/>
        </c:dLbls>
        <c:smooth val="0"/>
        <c:axId val="2063835344"/>
        <c:axId val="1"/>
      </c:lineChart>
      <c:catAx>
        <c:axId val="206383534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3534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200-250kg</a:t>
            </a:r>
          </a:p>
        </c:rich>
      </c:tx>
      <c:overlay val="0"/>
    </c:title>
    <c:autoTitleDeleted val="0"/>
    <c:plotArea>
      <c:layout/>
      <c:lineChart>
        <c:grouping val="standard"/>
        <c:varyColors val="0"/>
        <c:ser>
          <c:idx val="6"/>
          <c:order val="0"/>
          <c:tx>
            <c:strRef>
              <c:f>Summary!$D$3</c:f>
              <c:strCache>
                <c:ptCount val="1"/>
                <c:pt idx="0">
                  <c:v>Tollies/Bull calves 200-250kg</c:v>
                </c:pt>
              </c:strCache>
            </c:strRef>
          </c:tx>
          <c:spPr>
            <a:ln w="12700">
              <a:solidFill>
                <a:schemeClr val="tx1"/>
              </a:solidFill>
            </a:ln>
          </c:spPr>
          <c:marker>
            <c:symbol val="none"/>
          </c:marker>
          <c:cat>
            <c:numRef>
              <c:f>Summary!$B$392:$B$824</c:f>
              <c:numCache>
                <c:formatCode>General</c:formatCode>
                <c:ptCount val="433"/>
                <c:pt idx="0">
                  <c:v>2018</c:v>
                </c:pt>
                <c:pt idx="50">
                  <c:v>2019</c:v>
                </c:pt>
                <c:pt idx="100">
                  <c:v>2020</c:v>
                </c:pt>
                <c:pt idx="148">
                  <c:v>2021</c:v>
                </c:pt>
                <c:pt idx="196">
                  <c:v>2022</c:v>
                </c:pt>
                <c:pt idx="246">
                  <c:v>2023</c:v>
                </c:pt>
                <c:pt idx="296">
                  <c:v>2024</c:v>
                </c:pt>
                <c:pt idx="346">
                  <c:v>2025</c:v>
                </c:pt>
                <c:pt idx="393">
                  <c:v>2026</c:v>
                </c:pt>
              </c:numCache>
            </c:numRef>
          </c:cat>
          <c:val>
            <c:numRef>
              <c:f>Summary!$D$392:$D$824</c:f>
              <c:numCache>
                <c:formatCode>0.00</c:formatCode>
                <c:ptCount val="433"/>
                <c:pt idx="26">
                  <c:v>33.24</c:v>
                </c:pt>
                <c:pt idx="27">
                  <c:v>33.92</c:v>
                </c:pt>
                <c:pt idx="28">
                  <c:v>35.549999999999997</c:v>
                </c:pt>
                <c:pt idx="29">
                  <c:v>35.49</c:v>
                </c:pt>
                <c:pt idx="30">
                  <c:v>35.64</c:v>
                </c:pt>
                <c:pt idx="31">
                  <c:v>36.229999999999997</c:v>
                </c:pt>
                <c:pt idx="32">
                  <c:v>37.57</c:v>
                </c:pt>
                <c:pt idx="33">
                  <c:v>36.479999999999997</c:v>
                </c:pt>
                <c:pt idx="34">
                  <c:v>36.950000000000003</c:v>
                </c:pt>
                <c:pt idx="35">
                  <c:v>35.619999999999997</c:v>
                </c:pt>
                <c:pt idx="36">
                  <c:v>36.380000000000003</c:v>
                </c:pt>
                <c:pt idx="37">
                  <c:v>34.99</c:v>
                </c:pt>
                <c:pt idx="38">
                  <c:v>35.130000000000003</c:v>
                </c:pt>
                <c:pt idx="39">
                  <c:v>33.51</c:v>
                </c:pt>
                <c:pt idx="40">
                  <c:v>33.909999999999997</c:v>
                </c:pt>
                <c:pt idx="41">
                  <c:v>33.08</c:v>
                </c:pt>
                <c:pt idx="42">
                  <c:v>33.69</c:v>
                </c:pt>
                <c:pt idx="43">
                  <c:v>32.26</c:v>
                </c:pt>
                <c:pt idx="44">
                  <c:v>29.68</c:v>
                </c:pt>
                <c:pt idx="45">
                  <c:v>34.04</c:v>
                </c:pt>
                <c:pt idx="46">
                  <c:v>34.83</c:v>
                </c:pt>
                <c:pt idx="47">
                  <c:v>35.049999999999997</c:v>
                </c:pt>
                <c:pt idx="48">
                  <c:v>34.64</c:v>
                </c:pt>
                <c:pt idx="49">
                  <c:v>34.54</c:v>
                </c:pt>
                <c:pt idx="51">
                  <c:v>32.53</c:v>
                </c:pt>
                <c:pt idx="52">
                  <c:v>32.54</c:v>
                </c:pt>
                <c:pt idx="53">
                  <c:v>28.33</c:v>
                </c:pt>
                <c:pt idx="54">
                  <c:v>30.55</c:v>
                </c:pt>
                <c:pt idx="55">
                  <c:v>31.92</c:v>
                </c:pt>
                <c:pt idx="56">
                  <c:v>32.75</c:v>
                </c:pt>
                <c:pt idx="57">
                  <c:v>31.48</c:v>
                </c:pt>
                <c:pt idx="58">
                  <c:v>31.13</c:v>
                </c:pt>
                <c:pt idx="59">
                  <c:v>30.24</c:v>
                </c:pt>
                <c:pt idx="60">
                  <c:v>29.63</c:v>
                </c:pt>
                <c:pt idx="61">
                  <c:v>28.54</c:v>
                </c:pt>
                <c:pt idx="62">
                  <c:v>27.35</c:v>
                </c:pt>
                <c:pt idx="63">
                  <c:v>28.44</c:v>
                </c:pt>
                <c:pt idx="64">
                  <c:v>29.39</c:v>
                </c:pt>
                <c:pt idx="65">
                  <c:v>29.2</c:v>
                </c:pt>
                <c:pt idx="66">
                  <c:v>28.92</c:v>
                </c:pt>
                <c:pt idx="67">
                  <c:v>29.28</c:v>
                </c:pt>
                <c:pt idx="68">
                  <c:v>30</c:v>
                </c:pt>
                <c:pt idx="69">
                  <c:v>28.61</c:v>
                </c:pt>
                <c:pt idx="70">
                  <c:v>28.25</c:v>
                </c:pt>
                <c:pt idx="71">
                  <c:v>28.06</c:v>
                </c:pt>
                <c:pt idx="72">
                  <c:v>27.15</c:v>
                </c:pt>
                <c:pt idx="73">
                  <c:v>27.14</c:v>
                </c:pt>
                <c:pt idx="74">
                  <c:v>27.77</c:v>
                </c:pt>
                <c:pt idx="75">
                  <c:v>27.14</c:v>
                </c:pt>
                <c:pt idx="76">
                  <c:v>28.45</c:v>
                </c:pt>
                <c:pt idx="77">
                  <c:v>29.08</c:v>
                </c:pt>
                <c:pt idx="78">
                  <c:v>29.53</c:v>
                </c:pt>
                <c:pt idx="79">
                  <c:v>29.38</c:v>
                </c:pt>
                <c:pt idx="80">
                  <c:v>28.93</c:v>
                </c:pt>
                <c:pt idx="81">
                  <c:v>28.64</c:v>
                </c:pt>
                <c:pt idx="82">
                  <c:v>30.06</c:v>
                </c:pt>
                <c:pt idx="83">
                  <c:v>30.03</c:v>
                </c:pt>
                <c:pt idx="84">
                  <c:v>30.7</c:v>
                </c:pt>
                <c:pt idx="85">
                  <c:v>29.83</c:v>
                </c:pt>
                <c:pt idx="86">
                  <c:v>29.99</c:v>
                </c:pt>
                <c:pt idx="87">
                  <c:v>29.28</c:v>
                </c:pt>
                <c:pt idx="88">
                  <c:v>29.77</c:v>
                </c:pt>
                <c:pt idx="89">
                  <c:v>29.62</c:v>
                </c:pt>
                <c:pt idx="90">
                  <c:v>29.63</c:v>
                </c:pt>
                <c:pt idx="91">
                  <c:v>30.35</c:v>
                </c:pt>
                <c:pt idx="92">
                  <c:v>30.09</c:v>
                </c:pt>
                <c:pt idx="93">
                  <c:v>29.88</c:v>
                </c:pt>
                <c:pt idx="94">
                  <c:v>29.11</c:v>
                </c:pt>
                <c:pt idx="95">
                  <c:v>28.11</c:v>
                </c:pt>
                <c:pt idx="107">
                  <c:v>32.130000000000003</c:v>
                </c:pt>
                <c:pt idx="108">
                  <c:v>32.56</c:v>
                </c:pt>
                <c:pt idx="109">
                  <c:v>31.62</c:v>
                </c:pt>
                <c:pt idx="110">
                  <c:v>27.81</c:v>
                </c:pt>
                <c:pt idx="111">
                  <c:v>30.06</c:v>
                </c:pt>
                <c:pt idx="112">
                  <c:v>29.36</c:v>
                </c:pt>
                <c:pt idx="113">
                  <c:v>28.28</c:v>
                </c:pt>
                <c:pt idx="114">
                  <c:v>26.04</c:v>
                </c:pt>
                <c:pt idx="115">
                  <c:v>29.11</c:v>
                </c:pt>
                <c:pt idx="116">
                  <c:v>26.62</c:v>
                </c:pt>
                <c:pt idx="117">
                  <c:v>27.78</c:v>
                </c:pt>
                <c:pt idx="118">
                  <c:v>30.75</c:v>
                </c:pt>
                <c:pt idx="119">
                  <c:v>29.82</c:v>
                </c:pt>
                <c:pt idx="120">
                  <c:v>28.87</c:v>
                </c:pt>
                <c:pt idx="121">
                  <c:v>28.77</c:v>
                </c:pt>
                <c:pt idx="122">
                  <c:v>33.08</c:v>
                </c:pt>
                <c:pt idx="123">
                  <c:v>29.26</c:v>
                </c:pt>
                <c:pt idx="124">
                  <c:v>29.18</c:v>
                </c:pt>
                <c:pt idx="125">
                  <c:v>30.11</c:v>
                </c:pt>
                <c:pt idx="126">
                  <c:v>31.85</c:v>
                </c:pt>
                <c:pt idx="127">
                  <c:v>31.78</c:v>
                </c:pt>
                <c:pt idx="128">
                  <c:v>32.130000000000003</c:v>
                </c:pt>
                <c:pt idx="129">
                  <c:v>31.14</c:v>
                </c:pt>
                <c:pt idx="130">
                  <c:v>30.7</c:v>
                </c:pt>
                <c:pt idx="131">
                  <c:v>31.88</c:v>
                </c:pt>
                <c:pt idx="132">
                  <c:v>32.11</c:v>
                </c:pt>
                <c:pt idx="133">
                  <c:v>33.54</c:v>
                </c:pt>
                <c:pt idx="134">
                  <c:v>37.01</c:v>
                </c:pt>
                <c:pt idx="135">
                  <c:v>34.21</c:v>
                </c:pt>
                <c:pt idx="136">
                  <c:v>33.56</c:v>
                </c:pt>
                <c:pt idx="137">
                  <c:v>33.340000000000003</c:v>
                </c:pt>
                <c:pt idx="138">
                  <c:v>36.03</c:v>
                </c:pt>
                <c:pt idx="139">
                  <c:v>36.07</c:v>
                </c:pt>
                <c:pt idx="140">
                  <c:v>37.19</c:v>
                </c:pt>
                <c:pt idx="141">
                  <c:v>40.15</c:v>
                </c:pt>
                <c:pt idx="142">
                  <c:v>38.82</c:v>
                </c:pt>
                <c:pt idx="143">
                  <c:v>38.29</c:v>
                </c:pt>
                <c:pt idx="144">
                  <c:v>38.369999999999997</c:v>
                </c:pt>
                <c:pt idx="145">
                  <c:v>37.799999999999997</c:v>
                </c:pt>
                <c:pt idx="146">
                  <c:v>37.71</c:v>
                </c:pt>
                <c:pt idx="147">
                  <c:v>39.049999999999997</c:v>
                </c:pt>
                <c:pt idx="148">
                  <c:v>39.43</c:v>
                </c:pt>
                <c:pt idx="149">
                  <c:v>39.950000000000003</c:v>
                </c:pt>
                <c:pt idx="150">
                  <c:v>40.409999999999997</c:v>
                </c:pt>
                <c:pt idx="151">
                  <c:v>40.35</c:v>
                </c:pt>
                <c:pt idx="152">
                  <c:v>39.72</c:v>
                </c:pt>
                <c:pt idx="153">
                  <c:v>40.130000000000003</c:v>
                </c:pt>
                <c:pt idx="154">
                  <c:v>40.42</c:v>
                </c:pt>
                <c:pt idx="155">
                  <c:v>40.19</c:v>
                </c:pt>
                <c:pt idx="156">
                  <c:v>37.65</c:v>
                </c:pt>
                <c:pt idx="157">
                  <c:v>41.3</c:v>
                </c:pt>
                <c:pt idx="158">
                  <c:v>37.39</c:v>
                </c:pt>
                <c:pt idx="159">
                  <c:v>37.19</c:v>
                </c:pt>
                <c:pt idx="160">
                  <c:v>37.83</c:v>
                </c:pt>
                <c:pt idx="161">
                  <c:v>36.43</c:v>
                </c:pt>
                <c:pt idx="162">
                  <c:v>37.64</c:v>
                </c:pt>
                <c:pt idx="163">
                  <c:v>39.24</c:v>
                </c:pt>
                <c:pt idx="164">
                  <c:v>38.700000000000003</c:v>
                </c:pt>
                <c:pt idx="165">
                  <c:v>38.5</c:v>
                </c:pt>
                <c:pt idx="166">
                  <c:v>39.119999999999997</c:v>
                </c:pt>
                <c:pt idx="167">
                  <c:v>39.14</c:v>
                </c:pt>
                <c:pt idx="168">
                  <c:v>39.5</c:v>
                </c:pt>
                <c:pt idx="169">
                  <c:v>39.479999999999997</c:v>
                </c:pt>
                <c:pt idx="170">
                  <c:v>38.99</c:v>
                </c:pt>
                <c:pt idx="171">
                  <c:v>38.04</c:v>
                </c:pt>
                <c:pt idx="172">
                  <c:v>38.619999999999997</c:v>
                </c:pt>
                <c:pt idx="175">
                  <c:v>37.72</c:v>
                </c:pt>
                <c:pt idx="176">
                  <c:v>39.04</c:v>
                </c:pt>
                <c:pt idx="177">
                  <c:v>39.590000000000003</c:v>
                </c:pt>
                <c:pt idx="178">
                  <c:v>40.35</c:v>
                </c:pt>
                <c:pt idx="179">
                  <c:v>40.17</c:v>
                </c:pt>
                <c:pt idx="180">
                  <c:v>39.17</c:v>
                </c:pt>
                <c:pt idx="181">
                  <c:v>39.909999999999997</c:v>
                </c:pt>
                <c:pt idx="182">
                  <c:v>39.450000000000003</c:v>
                </c:pt>
                <c:pt idx="183">
                  <c:v>40.15</c:v>
                </c:pt>
                <c:pt idx="184">
                  <c:v>41</c:v>
                </c:pt>
                <c:pt idx="185">
                  <c:v>39.04</c:v>
                </c:pt>
                <c:pt idx="186">
                  <c:v>40.5</c:v>
                </c:pt>
                <c:pt idx="187">
                  <c:v>41.19</c:v>
                </c:pt>
                <c:pt idx="188">
                  <c:v>42.27</c:v>
                </c:pt>
                <c:pt idx="189">
                  <c:v>41.38</c:v>
                </c:pt>
                <c:pt idx="190">
                  <c:v>41.72</c:v>
                </c:pt>
                <c:pt idx="191">
                  <c:v>40.799999999999997</c:v>
                </c:pt>
                <c:pt idx="192">
                  <c:v>42.4</c:v>
                </c:pt>
                <c:pt idx="193">
                  <c:v>40.58</c:v>
                </c:pt>
                <c:pt idx="194">
                  <c:v>41.72</c:v>
                </c:pt>
                <c:pt idx="195">
                  <c:v>40.78</c:v>
                </c:pt>
                <c:pt idx="196">
                  <c:v>40.799999999999997</c:v>
                </c:pt>
                <c:pt idx="197">
                  <c:v>42.2</c:v>
                </c:pt>
                <c:pt idx="198">
                  <c:v>41.16</c:v>
                </c:pt>
                <c:pt idx="199">
                  <c:v>41.19</c:v>
                </c:pt>
                <c:pt idx="200">
                  <c:v>41.75</c:v>
                </c:pt>
                <c:pt idx="201">
                  <c:v>42.39</c:v>
                </c:pt>
                <c:pt idx="202">
                  <c:v>41.09</c:v>
                </c:pt>
                <c:pt idx="203">
                  <c:v>41.83</c:v>
                </c:pt>
                <c:pt idx="204">
                  <c:v>38.44</c:v>
                </c:pt>
                <c:pt idx="205">
                  <c:v>38.549999999999997</c:v>
                </c:pt>
                <c:pt idx="206">
                  <c:v>38.299999999999997</c:v>
                </c:pt>
                <c:pt idx="207">
                  <c:v>37.65</c:v>
                </c:pt>
                <c:pt idx="208">
                  <c:v>37.76</c:v>
                </c:pt>
                <c:pt idx="209">
                  <c:v>36.69</c:v>
                </c:pt>
                <c:pt idx="210">
                  <c:v>37.83</c:v>
                </c:pt>
                <c:pt idx="211">
                  <c:v>36.67</c:v>
                </c:pt>
                <c:pt idx="212">
                  <c:v>38.07</c:v>
                </c:pt>
                <c:pt idx="213">
                  <c:v>37.21</c:v>
                </c:pt>
                <c:pt idx="214">
                  <c:v>38.58</c:v>
                </c:pt>
                <c:pt idx="215">
                  <c:v>38.26</c:v>
                </c:pt>
                <c:pt idx="216">
                  <c:v>38.51</c:v>
                </c:pt>
                <c:pt idx="217">
                  <c:v>38.31</c:v>
                </c:pt>
                <c:pt idx="218">
                  <c:v>38.21</c:v>
                </c:pt>
                <c:pt idx="219">
                  <c:v>37.53</c:v>
                </c:pt>
                <c:pt idx="220">
                  <c:v>37.85</c:v>
                </c:pt>
                <c:pt idx="221">
                  <c:v>38.64</c:v>
                </c:pt>
                <c:pt idx="222">
                  <c:v>37.380000000000003</c:v>
                </c:pt>
                <c:pt idx="223">
                  <c:v>36.54</c:v>
                </c:pt>
                <c:pt idx="224">
                  <c:v>39.54</c:v>
                </c:pt>
                <c:pt idx="225">
                  <c:v>38.25</c:v>
                </c:pt>
                <c:pt idx="226">
                  <c:v>37.159999999999997</c:v>
                </c:pt>
                <c:pt idx="227">
                  <c:v>38.69</c:v>
                </c:pt>
                <c:pt idx="232">
                  <c:v>38.78</c:v>
                </c:pt>
                <c:pt idx="233">
                  <c:v>39.47</c:v>
                </c:pt>
                <c:pt idx="234">
                  <c:v>38.450000000000003</c:v>
                </c:pt>
                <c:pt idx="235">
                  <c:v>39.17</c:v>
                </c:pt>
                <c:pt idx="236">
                  <c:v>39.770000000000003</c:v>
                </c:pt>
                <c:pt idx="237">
                  <c:v>39.58</c:v>
                </c:pt>
                <c:pt idx="238">
                  <c:v>39.74</c:v>
                </c:pt>
                <c:pt idx="239">
                  <c:v>39.33</c:v>
                </c:pt>
                <c:pt idx="240">
                  <c:v>37.869999999999997</c:v>
                </c:pt>
                <c:pt idx="241">
                  <c:v>38.24</c:v>
                </c:pt>
                <c:pt idx="242">
                  <c:v>37.71</c:v>
                </c:pt>
                <c:pt idx="243">
                  <c:v>37.33</c:v>
                </c:pt>
                <c:pt idx="244">
                  <c:v>37.93</c:v>
                </c:pt>
                <c:pt idx="245">
                  <c:v>37.26</c:v>
                </c:pt>
                <c:pt idx="246">
                  <c:v>37.729999999999997</c:v>
                </c:pt>
                <c:pt idx="247">
                  <c:v>38.31</c:v>
                </c:pt>
                <c:pt idx="248">
                  <c:v>37.74</c:v>
                </c:pt>
                <c:pt idx="249">
                  <c:v>36.54</c:v>
                </c:pt>
                <c:pt idx="250">
                  <c:v>35.619999999999997</c:v>
                </c:pt>
                <c:pt idx="251">
                  <c:v>35.57</c:v>
                </c:pt>
                <c:pt idx="252">
                  <c:v>34.880000000000003</c:v>
                </c:pt>
                <c:pt idx="253">
                  <c:v>35.549999999999997</c:v>
                </c:pt>
                <c:pt idx="254">
                  <c:v>34.43</c:v>
                </c:pt>
                <c:pt idx="255">
                  <c:v>35.86</c:v>
                </c:pt>
                <c:pt idx="256">
                  <c:v>34.9</c:v>
                </c:pt>
                <c:pt idx="257">
                  <c:v>34.15</c:v>
                </c:pt>
                <c:pt idx="258">
                  <c:v>34.54</c:v>
                </c:pt>
                <c:pt idx="259">
                  <c:v>34.86</c:v>
                </c:pt>
                <c:pt idx="260">
                  <c:v>33.909999999999997</c:v>
                </c:pt>
                <c:pt idx="261">
                  <c:v>32.75</c:v>
                </c:pt>
                <c:pt idx="262">
                  <c:v>32.47</c:v>
                </c:pt>
                <c:pt idx="263">
                  <c:v>31.02</c:v>
                </c:pt>
                <c:pt idx="264">
                  <c:v>30.68</c:v>
                </c:pt>
                <c:pt idx="265">
                  <c:v>31.43</c:v>
                </c:pt>
                <c:pt idx="266">
                  <c:v>30.42</c:v>
                </c:pt>
                <c:pt idx="267">
                  <c:v>30.92</c:v>
                </c:pt>
                <c:pt idx="268">
                  <c:v>32.31</c:v>
                </c:pt>
                <c:pt idx="269">
                  <c:v>30.07</c:v>
                </c:pt>
                <c:pt idx="270">
                  <c:v>31.63</c:v>
                </c:pt>
                <c:pt idx="271">
                  <c:v>32.35</c:v>
                </c:pt>
                <c:pt idx="272">
                  <c:v>32.31</c:v>
                </c:pt>
                <c:pt idx="273">
                  <c:v>31.35</c:v>
                </c:pt>
                <c:pt idx="274">
                  <c:v>36.46</c:v>
                </c:pt>
                <c:pt idx="275">
                  <c:v>36.04</c:v>
                </c:pt>
                <c:pt idx="276">
                  <c:v>33.83</c:v>
                </c:pt>
                <c:pt idx="277">
                  <c:v>34.19</c:v>
                </c:pt>
                <c:pt idx="278">
                  <c:v>34.24</c:v>
                </c:pt>
                <c:pt idx="279">
                  <c:v>33.549999999999997</c:v>
                </c:pt>
                <c:pt idx="280">
                  <c:v>34.479999999999997</c:v>
                </c:pt>
                <c:pt idx="281">
                  <c:v>33.840000000000003</c:v>
                </c:pt>
                <c:pt idx="282">
                  <c:v>33.409999999999997</c:v>
                </c:pt>
                <c:pt idx="283">
                  <c:v>33.82</c:v>
                </c:pt>
                <c:pt idx="284">
                  <c:v>33.47</c:v>
                </c:pt>
                <c:pt idx="285">
                  <c:v>32.99</c:v>
                </c:pt>
                <c:pt idx="286">
                  <c:v>32.33</c:v>
                </c:pt>
                <c:pt idx="287">
                  <c:v>33.19</c:v>
                </c:pt>
                <c:pt idx="288">
                  <c:v>32.57</c:v>
                </c:pt>
                <c:pt idx="289">
                  <c:v>34.21</c:v>
                </c:pt>
                <c:pt idx="290">
                  <c:v>33.26</c:v>
                </c:pt>
                <c:pt idx="291">
                  <c:v>33.840000000000003</c:v>
                </c:pt>
                <c:pt idx="292">
                  <c:v>35.200000000000003</c:v>
                </c:pt>
                <c:pt idx="293">
                  <c:v>34.17</c:v>
                </c:pt>
                <c:pt idx="294">
                  <c:v>34.68</c:v>
                </c:pt>
                <c:pt idx="295">
                  <c:v>34.36</c:v>
                </c:pt>
                <c:pt idx="296">
                  <c:v>34.03</c:v>
                </c:pt>
                <c:pt idx="297">
                  <c:v>35.6</c:v>
                </c:pt>
                <c:pt idx="298">
                  <c:v>35.200000000000003</c:v>
                </c:pt>
                <c:pt idx="299">
                  <c:v>35.56</c:v>
                </c:pt>
                <c:pt idx="300">
                  <c:v>35.32</c:v>
                </c:pt>
                <c:pt idx="301">
                  <c:v>35.130000000000003</c:v>
                </c:pt>
                <c:pt idx="302">
                  <c:v>36.89</c:v>
                </c:pt>
                <c:pt idx="303">
                  <c:v>35.119999999999997</c:v>
                </c:pt>
                <c:pt idx="304">
                  <c:v>34.520000000000003</c:v>
                </c:pt>
                <c:pt idx="305">
                  <c:v>33.020000000000003</c:v>
                </c:pt>
                <c:pt idx="306">
                  <c:v>31.63</c:v>
                </c:pt>
                <c:pt idx="307">
                  <c:v>32.11</c:v>
                </c:pt>
                <c:pt idx="308">
                  <c:v>29.4</c:v>
                </c:pt>
                <c:pt idx="309">
                  <c:v>29.35</c:v>
                </c:pt>
                <c:pt idx="310">
                  <c:v>30.08</c:v>
                </c:pt>
                <c:pt idx="311">
                  <c:v>30.55</c:v>
                </c:pt>
                <c:pt idx="312">
                  <c:v>31.18</c:v>
                </c:pt>
                <c:pt idx="313">
                  <c:v>31.33</c:v>
                </c:pt>
                <c:pt idx="314">
                  <c:v>31.5</c:v>
                </c:pt>
                <c:pt idx="315">
                  <c:v>32.74</c:v>
                </c:pt>
                <c:pt idx="316">
                  <c:v>32.99</c:v>
                </c:pt>
                <c:pt idx="317">
                  <c:v>32.65</c:v>
                </c:pt>
                <c:pt idx="318">
                  <c:v>32.630000000000003</c:v>
                </c:pt>
                <c:pt idx="319">
                  <c:v>31.02</c:v>
                </c:pt>
                <c:pt idx="320">
                  <c:v>31.7</c:v>
                </c:pt>
                <c:pt idx="321">
                  <c:v>32.18</c:v>
                </c:pt>
                <c:pt idx="322">
                  <c:v>31.04</c:v>
                </c:pt>
                <c:pt idx="323">
                  <c:v>31.49</c:v>
                </c:pt>
                <c:pt idx="324">
                  <c:v>34.229999999999997</c:v>
                </c:pt>
                <c:pt idx="325">
                  <c:v>33.15</c:v>
                </c:pt>
                <c:pt idx="326">
                  <c:v>32.549999999999997</c:v>
                </c:pt>
                <c:pt idx="327">
                  <c:v>32.26</c:v>
                </c:pt>
                <c:pt idx="328">
                  <c:v>32.020000000000003</c:v>
                </c:pt>
                <c:pt idx="329">
                  <c:v>32</c:v>
                </c:pt>
                <c:pt idx="330">
                  <c:v>32.85</c:v>
                </c:pt>
                <c:pt idx="331">
                  <c:v>30.94</c:v>
                </c:pt>
                <c:pt idx="332">
                  <c:v>31.44</c:v>
                </c:pt>
                <c:pt idx="333">
                  <c:v>31.35</c:v>
                </c:pt>
                <c:pt idx="334">
                  <c:v>33.22</c:v>
                </c:pt>
                <c:pt idx="335">
                  <c:v>31.66</c:v>
                </c:pt>
                <c:pt idx="336">
                  <c:v>32.22</c:v>
                </c:pt>
                <c:pt idx="337">
                  <c:v>31.94</c:v>
                </c:pt>
                <c:pt idx="338">
                  <c:v>32.54</c:v>
                </c:pt>
                <c:pt idx="339">
                  <c:v>33.32</c:v>
                </c:pt>
                <c:pt idx="340">
                  <c:v>33.29</c:v>
                </c:pt>
                <c:pt idx="341">
                  <c:v>32.630000000000003</c:v>
                </c:pt>
                <c:pt idx="342">
                  <c:v>29.67</c:v>
                </c:pt>
                <c:pt idx="343">
                  <c:v>33.619999999999997</c:v>
                </c:pt>
                <c:pt idx="344">
                  <c:v>33.54</c:v>
                </c:pt>
                <c:pt idx="345">
                  <c:v>33.729999999999997</c:v>
                </c:pt>
                <c:pt idx="346">
                  <c:v>34.18</c:v>
                </c:pt>
                <c:pt idx="347">
                  <c:v>35.020000000000003</c:v>
                </c:pt>
                <c:pt idx="348">
                  <c:v>35.81</c:v>
                </c:pt>
                <c:pt idx="349">
                  <c:v>35.74</c:v>
                </c:pt>
                <c:pt idx="350">
                  <c:v>33.78</c:v>
                </c:pt>
                <c:pt idx="351">
                  <c:v>33.42</c:v>
                </c:pt>
                <c:pt idx="352">
                  <c:v>33.03</c:v>
                </c:pt>
                <c:pt idx="353">
                  <c:v>33.340000000000003</c:v>
                </c:pt>
                <c:pt idx="354">
                  <c:v>31.86</c:v>
                </c:pt>
                <c:pt idx="355">
                  <c:v>32.69</c:v>
                </c:pt>
                <c:pt idx="356">
                  <c:v>33.19</c:v>
                </c:pt>
                <c:pt idx="357">
                  <c:v>32.85</c:v>
                </c:pt>
                <c:pt idx="358">
                  <c:v>34.979999999999997</c:v>
                </c:pt>
                <c:pt idx="359">
                  <c:v>34.1</c:v>
                </c:pt>
                <c:pt idx="360">
                  <c:v>34.840000000000003</c:v>
                </c:pt>
                <c:pt idx="361">
                  <c:v>35.909999999999997</c:v>
                </c:pt>
                <c:pt idx="362">
                  <c:v>36.700000000000003</c:v>
                </c:pt>
                <c:pt idx="363">
                  <c:v>36.68</c:v>
                </c:pt>
                <c:pt idx="364">
                  <c:v>37.159999999999997</c:v>
                </c:pt>
                <c:pt idx="365">
                  <c:v>37.92</c:v>
                </c:pt>
                <c:pt idx="366">
                  <c:v>37.33</c:v>
                </c:pt>
                <c:pt idx="367">
                  <c:v>35.630000000000003</c:v>
                </c:pt>
                <c:pt idx="368">
                  <c:v>37.03</c:v>
                </c:pt>
                <c:pt idx="369">
                  <c:v>35.82</c:v>
                </c:pt>
                <c:pt idx="370">
                  <c:v>38.25</c:v>
                </c:pt>
                <c:pt idx="371">
                  <c:v>35.9</c:v>
                </c:pt>
                <c:pt idx="372">
                  <c:v>38.380000000000003</c:v>
                </c:pt>
                <c:pt idx="373">
                  <c:v>37.020000000000003</c:v>
                </c:pt>
                <c:pt idx="374">
                  <c:v>37.619999999999997</c:v>
                </c:pt>
                <c:pt idx="375">
                  <c:v>36.43</c:v>
                </c:pt>
                <c:pt idx="376">
                  <c:v>37.200000000000003</c:v>
                </c:pt>
                <c:pt idx="377">
                  <c:v>38.299999999999997</c:v>
                </c:pt>
                <c:pt idx="378">
                  <c:v>37.97</c:v>
                </c:pt>
                <c:pt idx="379">
                  <c:v>39.96</c:v>
                </c:pt>
                <c:pt idx="380">
                  <c:v>38.26</c:v>
                </c:pt>
                <c:pt idx="381">
                  <c:v>39.21</c:v>
                </c:pt>
                <c:pt idx="382">
                  <c:v>37.4</c:v>
                </c:pt>
                <c:pt idx="383">
                  <c:v>37.85</c:v>
                </c:pt>
                <c:pt idx="385">
                  <c:v>38.4</c:v>
                </c:pt>
                <c:pt idx="386">
                  <c:v>43</c:v>
                </c:pt>
                <c:pt idx="387">
                  <c:v>41.67</c:v>
                </c:pt>
                <c:pt idx="388">
                  <c:v>42.84</c:v>
                </c:pt>
                <c:pt idx="389">
                  <c:v>43.75</c:v>
                </c:pt>
                <c:pt idx="390">
                  <c:v>43.2</c:v>
                </c:pt>
                <c:pt idx="391">
                  <c:v>43.74</c:v>
                </c:pt>
                <c:pt idx="392">
                  <c:v>44.33</c:v>
                </c:pt>
                <c:pt idx="393">
                  <c:v>40.93</c:v>
                </c:pt>
                <c:pt idx="394">
                  <c:v>42.42</c:v>
                </c:pt>
                <c:pt idx="395">
                  <c:v>39.340000000000003</c:v>
                </c:pt>
                <c:pt idx="396">
                  <c:v>39.130000000000003</c:v>
                </c:pt>
                <c:pt idx="397">
                  <c:v>41.35</c:v>
                </c:pt>
                <c:pt idx="398">
                  <c:v>41.52</c:v>
                </c:pt>
                <c:pt idx="399">
                  <c:v>39.35</c:v>
                </c:pt>
                <c:pt idx="400">
                  <c:v>38.92</c:v>
                </c:pt>
                <c:pt idx="401">
                  <c:v>40.54</c:v>
                </c:pt>
                <c:pt idx="402">
                  <c:v>40.14</c:v>
                </c:pt>
                <c:pt idx="403">
                  <c:v>41.42</c:v>
                </c:pt>
                <c:pt idx="404">
                  <c:v>43.61</c:v>
                </c:pt>
                <c:pt idx="405">
                  <c:v>43.33</c:v>
                </c:pt>
                <c:pt idx="406">
                  <c:v>43.17</c:v>
                </c:pt>
                <c:pt idx="407">
                  <c:v>45.83</c:v>
                </c:pt>
                <c:pt idx="408">
                  <c:v>44.7</c:v>
                </c:pt>
                <c:pt idx="409">
                  <c:v>43.95</c:v>
                </c:pt>
                <c:pt idx="410">
                  <c:v>43.17</c:v>
                </c:pt>
                <c:pt idx="411">
                  <c:v>42.84</c:v>
                </c:pt>
                <c:pt idx="412">
                  <c:v>43.13</c:v>
                </c:pt>
                <c:pt idx="413">
                  <c:v>44.69</c:v>
                </c:pt>
                <c:pt idx="414">
                  <c:v>43.6</c:v>
                </c:pt>
                <c:pt idx="415">
                  <c:v>43.31</c:v>
                </c:pt>
                <c:pt idx="416">
                  <c:v>42.59</c:v>
                </c:pt>
                <c:pt idx="417" formatCode="General">
                  <c:v>45.04</c:v>
                </c:pt>
                <c:pt idx="418" formatCode="General">
                  <c:v>43.49</c:v>
                </c:pt>
                <c:pt idx="419" formatCode="General">
                  <c:v>46.73</c:v>
                </c:pt>
              </c:numCache>
            </c:numRef>
          </c:val>
          <c:smooth val="0"/>
          <c:extLst>
            <c:ext xmlns:c16="http://schemas.microsoft.com/office/drawing/2014/chart" uri="{C3380CC4-5D6E-409C-BE32-E72D297353CC}">
              <c16:uniqueId val="{00000000-15A2-41B5-A1B7-2905317BD356}"/>
            </c:ext>
          </c:extLst>
        </c:ser>
        <c:dLbls>
          <c:showLegendKey val="0"/>
          <c:showVal val="0"/>
          <c:showCatName val="0"/>
          <c:showSerName val="0"/>
          <c:showPercent val="0"/>
          <c:showBubbleSize val="0"/>
        </c:dLbls>
        <c:smooth val="0"/>
        <c:axId val="2063828624"/>
        <c:axId val="1"/>
      </c:lineChart>
      <c:catAx>
        <c:axId val="20638286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28624"/>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gt;250kg</a:t>
            </a:r>
          </a:p>
        </c:rich>
      </c:tx>
      <c:overlay val="0"/>
    </c:title>
    <c:autoTitleDeleted val="0"/>
    <c:plotArea>
      <c:layout/>
      <c:lineChart>
        <c:grouping val="standard"/>
        <c:varyColors val="0"/>
        <c:ser>
          <c:idx val="6"/>
          <c:order val="0"/>
          <c:tx>
            <c:strRef>
              <c:f>Summary!$E$3</c:f>
              <c:strCache>
                <c:ptCount val="1"/>
                <c:pt idx="0">
                  <c:v>Tollies/Bull calves&gt;250kg</c:v>
                </c:pt>
              </c:strCache>
            </c:strRef>
          </c:tx>
          <c:spPr>
            <a:ln w="12700">
              <a:solidFill>
                <a:schemeClr val="tx1"/>
              </a:solidFill>
            </a:ln>
          </c:spPr>
          <c:marker>
            <c:symbol val="none"/>
          </c:marker>
          <c:cat>
            <c:numRef>
              <c:f>Summary!$B$4:$B$845</c:f>
              <c:numCache>
                <c:formatCode>General</c:formatCode>
                <c:ptCount val="842"/>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E$4:$E$845</c:f>
              <c:numCache>
                <c:formatCode>0.00</c:formatCode>
                <c:ptCount val="842"/>
                <c:pt idx="0">
                  <c:v>15.23</c:v>
                </c:pt>
                <c:pt idx="1">
                  <c:v>15.82</c:v>
                </c:pt>
                <c:pt idx="2">
                  <c:v>15.82</c:v>
                </c:pt>
                <c:pt idx="3">
                  <c:v>14.9</c:v>
                </c:pt>
                <c:pt idx="4">
                  <c:v>15.04</c:v>
                </c:pt>
                <c:pt idx="5">
                  <c:v>15.09</c:v>
                </c:pt>
                <c:pt idx="6">
                  <c:v>14.27</c:v>
                </c:pt>
                <c:pt idx="7">
                  <c:v>15.94</c:v>
                </c:pt>
                <c:pt idx="8">
                  <c:v>15.01</c:v>
                </c:pt>
                <c:pt idx="9">
                  <c:v>15.11</c:v>
                </c:pt>
                <c:pt idx="10">
                  <c:v>14.31</c:v>
                </c:pt>
                <c:pt idx="11">
                  <c:v>14.57</c:v>
                </c:pt>
                <c:pt idx="12">
                  <c:v>14.75</c:v>
                </c:pt>
                <c:pt idx="13">
                  <c:v>15.07</c:v>
                </c:pt>
                <c:pt idx="14">
                  <c:v>15.01</c:v>
                </c:pt>
                <c:pt idx="15">
                  <c:v>14.88</c:v>
                </c:pt>
                <c:pt idx="16">
                  <c:v>15.13</c:v>
                </c:pt>
                <c:pt idx="17">
                  <c:v>15.48</c:v>
                </c:pt>
                <c:pt idx="18">
                  <c:v>15.01</c:v>
                </c:pt>
                <c:pt idx="19">
                  <c:v>15.45</c:v>
                </c:pt>
                <c:pt idx="20">
                  <c:v>15.11</c:v>
                </c:pt>
                <c:pt idx="21">
                  <c:v>15.21</c:v>
                </c:pt>
                <c:pt idx="22">
                  <c:v>15.43</c:v>
                </c:pt>
                <c:pt idx="23">
                  <c:v>14.76</c:v>
                </c:pt>
                <c:pt idx="24">
                  <c:v>14.9</c:v>
                </c:pt>
                <c:pt idx="25">
                  <c:v>15.4</c:v>
                </c:pt>
                <c:pt idx="26">
                  <c:v>15</c:v>
                </c:pt>
                <c:pt idx="27">
                  <c:v>14.89</c:v>
                </c:pt>
                <c:pt idx="28">
                  <c:v>14.57</c:v>
                </c:pt>
                <c:pt idx="29">
                  <c:v>15</c:v>
                </c:pt>
                <c:pt idx="30">
                  <c:v>14.58</c:v>
                </c:pt>
                <c:pt idx="31">
                  <c:v>15.46</c:v>
                </c:pt>
                <c:pt idx="32">
                  <c:v>15.83</c:v>
                </c:pt>
                <c:pt idx="33">
                  <c:v>15.47</c:v>
                </c:pt>
                <c:pt idx="34">
                  <c:v>16.170000000000002</c:v>
                </c:pt>
                <c:pt idx="35">
                  <c:v>16.010000000000002</c:v>
                </c:pt>
                <c:pt idx="36">
                  <c:v>16.2</c:v>
                </c:pt>
                <c:pt idx="37">
                  <c:v>17.72</c:v>
                </c:pt>
                <c:pt idx="38">
                  <c:v>15.93</c:v>
                </c:pt>
                <c:pt idx="39">
                  <c:v>15.5</c:v>
                </c:pt>
                <c:pt idx="40">
                  <c:v>15.81</c:v>
                </c:pt>
                <c:pt idx="41">
                  <c:v>16.66</c:v>
                </c:pt>
                <c:pt idx="42">
                  <c:v>15.61</c:v>
                </c:pt>
                <c:pt idx="43">
                  <c:v>14.93</c:v>
                </c:pt>
                <c:pt idx="44">
                  <c:v>17.18</c:v>
                </c:pt>
                <c:pt idx="45">
                  <c:v>17.52</c:v>
                </c:pt>
                <c:pt idx="46">
                  <c:v>17.48</c:v>
                </c:pt>
                <c:pt idx="47">
                  <c:v>16.899999999999999</c:v>
                </c:pt>
                <c:pt idx="48">
                  <c:v>18.36</c:v>
                </c:pt>
                <c:pt idx="49">
                  <c:v>18.18</c:v>
                </c:pt>
                <c:pt idx="50">
                  <c:v>18.21</c:v>
                </c:pt>
                <c:pt idx="51">
                  <c:v>17.100000000000001</c:v>
                </c:pt>
                <c:pt idx="52">
                  <c:v>16.829999999999998</c:v>
                </c:pt>
                <c:pt idx="53">
                  <c:v>16.88</c:v>
                </c:pt>
                <c:pt idx="54">
                  <c:v>16.13</c:v>
                </c:pt>
                <c:pt idx="55">
                  <c:v>16.7</c:v>
                </c:pt>
                <c:pt idx="56">
                  <c:v>16.05</c:v>
                </c:pt>
                <c:pt idx="57">
                  <c:v>16.46</c:v>
                </c:pt>
                <c:pt idx="58">
                  <c:v>15.8</c:v>
                </c:pt>
                <c:pt idx="59">
                  <c:v>16.62</c:v>
                </c:pt>
                <c:pt idx="60">
                  <c:v>16.7</c:v>
                </c:pt>
                <c:pt idx="61">
                  <c:v>17.7</c:v>
                </c:pt>
                <c:pt idx="62">
                  <c:v>16.420000000000002</c:v>
                </c:pt>
                <c:pt idx="63">
                  <c:v>17.12</c:v>
                </c:pt>
                <c:pt idx="64">
                  <c:v>15.59</c:v>
                </c:pt>
                <c:pt idx="65">
                  <c:v>17.82</c:v>
                </c:pt>
                <c:pt idx="66">
                  <c:v>15.9</c:v>
                </c:pt>
                <c:pt idx="67">
                  <c:v>15.9</c:v>
                </c:pt>
                <c:pt idx="68">
                  <c:v>18.14</c:v>
                </c:pt>
                <c:pt idx="69">
                  <c:v>15.68</c:v>
                </c:pt>
                <c:pt idx="70">
                  <c:v>17.510000000000002</c:v>
                </c:pt>
                <c:pt idx="71">
                  <c:v>17.47</c:v>
                </c:pt>
                <c:pt idx="72">
                  <c:v>17.47</c:v>
                </c:pt>
                <c:pt idx="73">
                  <c:v>20.43</c:v>
                </c:pt>
                <c:pt idx="74">
                  <c:v>19.39</c:v>
                </c:pt>
                <c:pt idx="75">
                  <c:v>19.39</c:v>
                </c:pt>
                <c:pt idx="76">
                  <c:v>18.39</c:v>
                </c:pt>
                <c:pt idx="77">
                  <c:v>17.34</c:v>
                </c:pt>
                <c:pt idx="78">
                  <c:v>17.91</c:v>
                </c:pt>
                <c:pt idx="79">
                  <c:v>18.48</c:v>
                </c:pt>
                <c:pt idx="80">
                  <c:v>20.58</c:v>
                </c:pt>
                <c:pt idx="81">
                  <c:v>18.75</c:v>
                </c:pt>
                <c:pt idx="82">
                  <c:v>19.71</c:v>
                </c:pt>
                <c:pt idx="83">
                  <c:v>21.04</c:v>
                </c:pt>
                <c:pt idx="84">
                  <c:v>15.16</c:v>
                </c:pt>
                <c:pt idx="85">
                  <c:v>19.46</c:v>
                </c:pt>
                <c:pt idx="86">
                  <c:v>21.18</c:v>
                </c:pt>
                <c:pt idx="87">
                  <c:v>21.01</c:v>
                </c:pt>
                <c:pt idx="88">
                  <c:v>21.91</c:v>
                </c:pt>
                <c:pt idx="89">
                  <c:v>21.55</c:v>
                </c:pt>
                <c:pt idx="90">
                  <c:v>21.29</c:v>
                </c:pt>
                <c:pt idx="91">
                  <c:v>20.55</c:v>
                </c:pt>
                <c:pt idx="92">
                  <c:v>19.86</c:v>
                </c:pt>
                <c:pt idx="93">
                  <c:v>20.9</c:v>
                </c:pt>
                <c:pt idx="94">
                  <c:v>21.33</c:v>
                </c:pt>
                <c:pt idx="95">
                  <c:v>20.41</c:v>
                </c:pt>
                <c:pt idx="96">
                  <c:v>20.28</c:v>
                </c:pt>
                <c:pt idx="97">
                  <c:v>20.059999999999999</c:v>
                </c:pt>
                <c:pt idx="98">
                  <c:v>18.93</c:v>
                </c:pt>
                <c:pt idx="99">
                  <c:v>17.809999999999999</c:v>
                </c:pt>
                <c:pt idx="100">
                  <c:v>17.73</c:v>
                </c:pt>
                <c:pt idx="101">
                  <c:v>14.77</c:v>
                </c:pt>
                <c:pt idx="102">
                  <c:v>15.93</c:v>
                </c:pt>
                <c:pt idx="103">
                  <c:v>14.47</c:v>
                </c:pt>
                <c:pt idx="104">
                  <c:v>14.92</c:v>
                </c:pt>
                <c:pt idx="105">
                  <c:v>15.28</c:v>
                </c:pt>
                <c:pt idx="106">
                  <c:v>14.75</c:v>
                </c:pt>
                <c:pt idx="107">
                  <c:v>15.49</c:v>
                </c:pt>
                <c:pt idx="108">
                  <c:v>15.43</c:v>
                </c:pt>
                <c:pt idx="109">
                  <c:v>15.49</c:v>
                </c:pt>
                <c:pt idx="110">
                  <c:v>15.01</c:v>
                </c:pt>
                <c:pt idx="111">
                  <c:v>15.99</c:v>
                </c:pt>
                <c:pt idx="112">
                  <c:v>16.09</c:v>
                </c:pt>
                <c:pt idx="113">
                  <c:v>15.8</c:v>
                </c:pt>
                <c:pt idx="114">
                  <c:v>15.54</c:v>
                </c:pt>
                <c:pt idx="115">
                  <c:v>15.61</c:v>
                </c:pt>
                <c:pt idx="116">
                  <c:v>15.34</c:v>
                </c:pt>
                <c:pt idx="117">
                  <c:v>16.14</c:v>
                </c:pt>
                <c:pt idx="118">
                  <c:v>13.93</c:v>
                </c:pt>
                <c:pt idx="119">
                  <c:v>14.77</c:v>
                </c:pt>
                <c:pt idx="120">
                  <c:v>14.67</c:v>
                </c:pt>
                <c:pt idx="121">
                  <c:v>15.25</c:v>
                </c:pt>
                <c:pt idx="122">
                  <c:v>16.440000000000001</c:v>
                </c:pt>
                <c:pt idx="123">
                  <c:v>15.47</c:v>
                </c:pt>
                <c:pt idx="124">
                  <c:v>17.670000000000002</c:v>
                </c:pt>
                <c:pt idx="125">
                  <c:v>16.850000000000001</c:v>
                </c:pt>
                <c:pt idx="126">
                  <c:v>16.13</c:v>
                </c:pt>
                <c:pt idx="127">
                  <c:v>17.28</c:v>
                </c:pt>
                <c:pt idx="128">
                  <c:v>17.59</c:v>
                </c:pt>
                <c:pt idx="129">
                  <c:v>16.93</c:v>
                </c:pt>
                <c:pt idx="130">
                  <c:v>20.440000000000001</c:v>
                </c:pt>
                <c:pt idx="131">
                  <c:v>16.98</c:v>
                </c:pt>
                <c:pt idx="132">
                  <c:v>17.559999999999999</c:v>
                </c:pt>
                <c:pt idx="133">
                  <c:v>17.420000000000002</c:v>
                </c:pt>
                <c:pt idx="134">
                  <c:v>18.36</c:v>
                </c:pt>
                <c:pt idx="135">
                  <c:v>17.350000000000001</c:v>
                </c:pt>
                <c:pt idx="136">
                  <c:v>17.84</c:v>
                </c:pt>
                <c:pt idx="137">
                  <c:v>17.96</c:v>
                </c:pt>
                <c:pt idx="138">
                  <c:v>17.170000000000002</c:v>
                </c:pt>
                <c:pt idx="139">
                  <c:v>16.760000000000002</c:v>
                </c:pt>
                <c:pt idx="140">
                  <c:v>16.21</c:v>
                </c:pt>
                <c:pt idx="141">
                  <c:v>14.67</c:v>
                </c:pt>
                <c:pt idx="142">
                  <c:v>17.010000000000002</c:v>
                </c:pt>
                <c:pt idx="143">
                  <c:v>17.2</c:v>
                </c:pt>
                <c:pt idx="144">
                  <c:v>17.190000000000001</c:v>
                </c:pt>
                <c:pt idx="145">
                  <c:v>16.53</c:v>
                </c:pt>
                <c:pt idx="146">
                  <c:v>16.97</c:v>
                </c:pt>
                <c:pt idx="147">
                  <c:v>16.649999999999999</c:v>
                </c:pt>
                <c:pt idx="148">
                  <c:v>16.04</c:v>
                </c:pt>
                <c:pt idx="149">
                  <c:v>16.07</c:v>
                </c:pt>
                <c:pt idx="150">
                  <c:v>15.59</c:v>
                </c:pt>
                <c:pt idx="151">
                  <c:v>15.77</c:v>
                </c:pt>
                <c:pt idx="152">
                  <c:v>15.13</c:v>
                </c:pt>
                <c:pt idx="153">
                  <c:v>14.29</c:v>
                </c:pt>
                <c:pt idx="154">
                  <c:v>15</c:v>
                </c:pt>
                <c:pt idx="155">
                  <c:v>15.24</c:v>
                </c:pt>
                <c:pt idx="156">
                  <c:v>14.82</c:v>
                </c:pt>
                <c:pt idx="157">
                  <c:v>15.29</c:v>
                </c:pt>
                <c:pt idx="158">
                  <c:v>16.2</c:v>
                </c:pt>
                <c:pt idx="159">
                  <c:v>15.93</c:v>
                </c:pt>
                <c:pt idx="160">
                  <c:v>15.44</c:v>
                </c:pt>
                <c:pt idx="161">
                  <c:v>15.5</c:v>
                </c:pt>
                <c:pt idx="162">
                  <c:v>14.13</c:v>
                </c:pt>
                <c:pt idx="163">
                  <c:v>15.27</c:v>
                </c:pt>
                <c:pt idx="164">
                  <c:v>14.86</c:v>
                </c:pt>
                <c:pt idx="165">
                  <c:v>15.03</c:v>
                </c:pt>
                <c:pt idx="166">
                  <c:v>14.11</c:v>
                </c:pt>
                <c:pt idx="167">
                  <c:v>15.42</c:v>
                </c:pt>
                <c:pt idx="168">
                  <c:v>15.55</c:v>
                </c:pt>
                <c:pt idx="169">
                  <c:v>15.57</c:v>
                </c:pt>
                <c:pt idx="170">
                  <c:v>15.08</c:v>
                </c:pt>
                <c:pt idx="171">
                  <c:v>16.25</c:v>
                </c:pt>
                <c:pt idx="172">
                  <c:v>15.88</c:v>
                </c:pt>
                <c:pt idx="173">
                  <c:v>15.54</c:v>
                </c:pt>
                <c:pt idx="174">
                  <c:v>16.37</c:v>
                </c:pt>
                <c:pt idx="175">
                  <c:v>15.95</c:v>
                </c:pt>
                <c:pt idx="176">
                  <c:v>16.14</c:v>
                </c:pt>
                <c:pt idx="177">
                  <c:v>15.68</c:v>
                </c:pt>
                <c:pt idx="178">
                  <c:v>15.59</c:v>
                </c:pt>
                <c:pt idx="179">
                  <c:v>15.72</c:v>
                </c:pt>
                <c:pt idx="180">
                  <c:v>15.01</c:v>
                </c:pt>
                <c:pt idx="181">
                  <c:v>15.49</c:v>
                </c:pt>
                <c:pt idx="182">
                  <c:v>17.04</c:v>
                </c:pt>
                <c:pt idx="183">
                  <c:v>16.8</c:v>
                </c:pt>
                <c:pt idx="184">
                  <c:v>17.170000000000002</c:v>
                </c:pt>
                <c:pt idx="185">
                  <c:v>16.09</c:v>
                </c:pt>
                <c:pt idx="186">
                  <c:v>16.63</c:v>
                </c:pt>
                <c:pt idx="187">
                  <c:v>17.850000000000001</c:v>
                </c:pt>
                <c:pt idx="188">
                  <c:v>16.64</c:v>
                </c:pt>
                <c:pt idx="189">
                  <c:v>16.54</c:v>
                </c:pt>
                <c:pt idx="190">
                  <c:v>17.64</c:v>
                </c:pt>
                <c:pt idx="191">
                  <c:v>16.07</c:v>
                </c:pt>
                <c:pt idx="192">
                  <c:v>16.850000000000001</c:v>
                </c:pt>
                <c:pt idx="193">
                  <c:v>16.72</c:v>
                </c:pt>
                <c:pt idx="194">
                  <c:v>16.25</c:v>
                </c:pt>
                <c:pt idx="195">
                  <c:v>16.16</c:v>
                </c:pt>
                <c:pt idx="196">
                  <c:v>16.14</c:v>
                </c:pt>
                <c:pt idx="197">
                  <c:v>16.34</c:v>
                </c:pt>
                <c:pt idx="198">
                  <c:v>16.77</c:v>
                </c:pt>
                <c:pt idx="199">
                  <c:v>16.350000000000001</c:v>
                </c:pt>
                <c:pt idx="200">
                  <c:v>15.99</c:v>
                </c:pt>
                <c:pt idx="201">
                  <c:v>16.32</c:v>
                </c:pt>
                <c:pt idx="202">
                  <c:v>13.9</c:v>
                </c:pt>
                <c:pt idx="203">
                  <c:v>17.329999999999998</c:v>
                </c:pt>
                <c:pt idx="204">
                  <c:v>16.14</c:v>
                </c:pt>
                <c:pt idx="205">
                  <c:v>16.96</c:v>
                </c:pt>
                <c:pt idx="206">
                  <c:v>16.420000000000002</c:v>
                </c:pt>
                <c:pt idx="207">
                  <c:v>16.43</c:v>
                </c:pt>
                <c:pt idx="208">
                  <c:v>15.91</c:v>
                </c:pt>
                <c:pt idx="209">
                  <c:v>15.73</c:v>
                </c:pt>
                <c:pt idx="210">
                  <c:v>16.09</c:v>
                </c:pt>
                <c:pt idx="211">
                  <c:v>16.010000000000002</c:v>
                </c:pt>
                <c:pt idx="212">
                  <c:v>16.47</c:v>
                </c:pt>
                <c:pt idx="213">
                  <c:v>17.309999999999999</c:v>
                </c:pt>
                <c:pt idx="214">
                  <c:v>17.489999999999998</c:v>
                </c:pt>
                <c:pt idx="215">
                  <c:v>16.8</c:v>
                </c:pt>
                <c:pt idx="216">
                  <c:v>17.38</c:v>
                </c:pt>
                <c:pt idx="217">
                  <c:v>17.09</c:v>
                </c:pt>
                <c:pt idx="218">
                  <c:v>17.03</c:v>
                </c:pt>
                <c:pt idx="219">
                  <c:v>17.55</c:v>
                </c:pt>
                <c:pt idx="220">
                  <c:v>18.03</c:v>
                </c:pt>
                <c:pt idx="221">
                  <c:v>18.600000000000001</c:v>
                </c:pt>
                <c:pt idx="222">
                  <c:v>19.010000000000002</c:v>
                </c:pt>
                <c:pt idx="223">
                  <c:v>21.35</c:v>
                </c:pt>
                <c:pt idx="224">
                  <c:v>19.18</c:v>
                </c:pt>
                <c:pt idx="225">
                  <c:v>18.260000000000002</c:v>
                </c:pt>
                <c:pt idx="226">
                  <c:v>17.95</c:v>
                </c:pt>
                <c:pt idx="227">
                  <c:v>19.22</c:v>
                </c:pt>
                <c:pt idx="228">
                  <c:v>18.72</c:v>
                </c:pt>
                <c:pt idx="229">
                  <c:v>18.920000000000002</c:v>
                </c:pt>
                <c:pt idx="230">
                  <c:v>19.350000000000001</c:v>
                </c:pt>
                <c:pt idx="231">
                  <c:v>19.059999999999999</c:v>
                </c:pt>
                <c:pt idx="232">
                  <c:v>19.97</c:v>
                </c:pt>
                <c:pt idx="233">
                  <c:v>19.850000000000001</c:v>
                </c:pt>
                <c:pt idx="234">
                  <c:v>20.8</c:v>
                </c:pt>
                <c:pt idx="235">
                  <c:v>20.32</c:v>
                </c:pt>
                <c:pt idx="236">
                  <c:v>20.18</c:v>
                </c:pt>
                <c:pt idx="237">
                  <c:v>20.29</c:v>
                </c:pt>
                <c:pt idx="238">
                  <c:v>20.07</c:v>
                </c:pt>
                <c:pt idx="239">
                  <c:v>20.350000000000001</c:v>
                </c:pt>
                <c:pt idx="240">
                  <c:v>20.04</c:v>
                </c:pt>
                <c:pt idx="241">
                  <c:v>19.8</c:v>
                </c:pt>
                <c:pt idx="242">
                  <c:v>21.18</c:v>
                </c:pt>
                <c:pt idx="243">
                  <c:v>19.93</c:v>
                </c:pt>
                <c:pt idx="244">
                  <c:v>20.22</c:v>
                </c:pt>
                <c:pt idx="245">
                  <c:v>20.63</c:v>
                </c:pt>
                <c:pt idx="246">
                  <c:v>18.420000000000002</c:v>
                </c:pt>
                <c:pt idx="247">
                  <c:v>17.88</c:v>
                </c:pt>
                <c:pt idx="248">
                  <c:v>17.329999999999998</c:v>
                </c:pt>
                <c:pt idx="249">
                  <c:v>16.29</c:v>
                </c:pt>
                <c:pt idx="250">
                  <c:v>17.91</c:v>
                </c:pt>
                <c:pt idx="251">
                  <c:v>18.25</c:v>
                </c:pt>
                <c:pt idx="252">
                  <c:v>16.440000000000001</c:v>
                </c:pt>
                <c:pt idx="253">
                  <c:v>18.329999999999998</c:v>
                </c:pt>
                <c:pt idx="254">
                  <c:v>18.579999999999998</c:v>
                </c:pt>
                <c:pt idx="255">
                  <c:v>19.14</c:v>
                </c:pt>
                <c:pt idx="256">
                  <c:v>21.87</c:v>
                </c:pt>
                <c:pt idx="257">
                  <c:v>19.690000000000001</c:v>
                </c:pt>
                <c:pt idx="258">
                  <c:v>19.02</c:v>
                </c:pt>
                <c:pt idx="259">
                  <c:v>18.329999999999998</c:v>
                </c:pt>
                <c:pt idx="260">
                  <c:v>18.940000000000001</c:v>
                </c:pt>
                <c:pt idx="261">
                  <c:v>18.46</c:v>
                </c:pt>
                <c:pt idx="262">
                  <c:v>18.739999999999998</c:v>
                </c:pt>
                <c:pt idx="263">
                  <c:v>17.36</c:v>
                </c:pt>
                <c:pt idx="264">
                  <c:v>18.82</c:v>
                </c:pt>
                <c:pt idx="265">
                  <c:v>21.35</c:v>
                </c:pt>
                <c:pt idx="266">
                  <c:v>20.49</c:v>
                </c:pt>
                <c:pt idx="267">
                  <c:v>19.260000000000002</c:v>
                </c:pt>
                <c:pt idx="268">
                  <c:v>19.93</c:v>
                </c:pt>
                <c:pt idx="269">
                  <c:v>20.57</c:v>
                </c:pt>
                <c:pt idx="270">
                  <c:v>21.22</c:v>
                </c:pt>
                <c:pt idx="271">
                  <c:v>17.39</c:v>
                </c:pt>
                <c:pt idx="272">
                  <c:v>21.99</c:v>
                </c:pt>
                <c:pt idx="273">
                  <c:v>19.45</c:v>
                </c:pt>
                <c:pt idx="274">
                  <c:v>21.46</c:v>
                </c:pt>
                <c:pt idx="275">
                  <c:v>20.9</c:v>
                </c:pt>
                <c:pt idx="276">
                  <c:v>17.329999999999998</c:v>
                </c:pt>
                <c:pt idx="277">
                  <c:v>18.79</c:v>
                </c:pt>
                <c:pt idx="278">
                  <c:v>19.899999999999999</c:v>
                </c:pt>
                <c:pt idx="279">
                  <c:v>21.18</c:v>
                </c:pt>
                <c:pt idx="280">
                  <c:v>20.41</c:v>
                </c:pt>
                <c:pt idx="281">
                  <c:v>21.1</c:v>
                </c:pt>
                <c:pt idx="282">
                  <c:v>20.5</c:v>
                </c:pt>
                <c:pt idx="283">
                  <c:v>20.2</c:v>
                </c:pt>
                <c:pt idx="284">
                  <c:v>18.16</c:v>
                </c:pt>
                <c:pt idx="285">
                  <c:v>17.579999999999998</c:v>
                </c:pt>
                <c:pt idx="286">
                  <c:v>17.61</c:v>
                </c:pt>
                <c:pt idx="287">
                  <c:v>18.48</c:v>
                </c:pt>
                <c:pt idx="288">
                  <c:v>18.36</c:v>
                </c:pt>
                <c:pt idx="289">
                  <c:v>17.399999999999999</c:v>
                </c:pt>
                <c:pt idx="290">
                  <c:v>18.2</c:v>
                </c:pt>
                <c:pt idx="291">
                  <c:v>18.25</c:v>
                </c:pt>
                <c:pt idx="292">
                  <c:v>21.29</c:v>
                </c:pt>
                <c:pt idx="293">
                  <c:v>20.7</c:v>
                </c:pt>
                <c:pt idx="294">
                  <c:v>20.73</c:v>
                </c:pt>
                <c:pt idx="295">
                  <c:v>20.67</c:v>
                </c:pt>
                <c:pt idx="296">
                  <c:v>20.7</c:v>
                </c:pt>
                <c:pt idx="297">
                  <c:v>19.09</c:v>
                </c:pt>
                <c:pt idx="298">
                  <c:v>19.36</c:v>
                </c:pt>
                <c:pt idx="299">
                  <c:v>18.93</c:v>
                </c:pt>
                <c:pt idx="300">
                  <c:v>20.02</c:v>
                </c:pt>
                <c:pt idx="301">
                  <c:v>20.83</c:v>
                </c:pt>
                <c:pt idx="302">
                  <c:v>20.170000000000002</c:v>
                </c:pt>
                <c:pt idx="303">
                  <c:v>19.809999999999999</c:v>
                </c:pt>
                <c:pt idx="304">
                  <c:v>19.600000000000001</c:v>
                </c:pt>
                <c:pt idx="305">
                  <c:v>18.66</c:v>
                </c:pt>
                <c:pt idx="306">
                  <c:v>19.54</c:v>
                </c:pt>
                <c:pt idx="307">
                  <c:v>19.440000000000001</c:v>
                </c:pt>
                <c:pt idx="308">
                  <c:v>19.61</c:v>
                </c:pt>
                <c:pt idx="309">
                  <c:v>19.27</c:v>
                </c:pt>
                <c:pt idx="310">
                  <c:v>19.989999999999998</c:v>
                </c:pt>
                <c:pt idx="311">
                  <c:v>19.21</c:v>
                </c:pt>
                <c:pt idx="312">
                  <c:v>20.329999999999998</c:v>
                </c:pt>
                <c:pt idx="313">
                  <c:v>19.5</c:v>
                </c:pt>
                <c:pt idx="314">
                  <c:v>20.81</c:v>
                </c:pt>
                <c:pt idx="315">
                  <c:v>18.739999999999998</c:v>
                </c:pt>
                <c:pt idx="316">
                  <c:v>19.89</c:v>
                </c:pt>
                <c:pt idx="317">
                  <c:v>20.100000000000001</c:v>
                </c:pt>
                <c:pt idx="318">
                  <c:v>20.55</c:v>
                </c:pt>
                <c:pt idx="319">
                  <c:v>20.3</c:v>
                </c:pt>
                <c:pt idx="320">
                  <c:v>23.66</c:v>
                </c:pt>
                <c:pt idx="321">
                  <c:v>20.32</c:v>
                </c:pt>
                <c:pt idx="322">
                  <c:v>20.83</c:v>
                </c:pt>
                <c:pt idx="323">
                  <c:v>20.64</c:v>
                </c:pt>
                <c:pt idx="324">
                  <c:v>21.06</c:v>
                </c:pt>
                <c:pt idx="325">
                  <c:v>20.9</c:v>
                </c:pt>
                <c:pt idx="326">
                  <c:v>20.02</c:v>
                </c:pt>
                <c:pt idx="327">
                  <c:v>20.67</c:v>
                </c:pt>
                <c:pt idx="328">
                  <c:v>21.41</c:v>
                </c:pt>
                <c:pt idx="329">
                  <c:v>21.82</c:v>
                </c:pt>
                <c:pt idx="330">
                  <c:v>20.69</c:v>
                </c:pt>
                <c:pt idx="331">
                  <c:v>22.12</c:v>
                </c:pt>
                <c:pt idx="332">
                  <c:v>21.28</c:v>
                </c:pt>
                <c:pt idx="333">
                  <c:v>22.1</c:v>
                </c:pt>
                <c:pt idx="334">
                  <c:v>22.3</c:v>
                </c:pt>
                <c:pt idx="335">
                  <c:v>23.18</c:v>
                </c:pt>
                <c:pt idx="336">
                  <c:v>23.64</c:v>
                </c:pt>
                <c:pt idx="337">
                  <c:v>22.9</c:v>
                </c:pt>
                <c:pt idx="338">
                  <c:v>21.66</c:v>
                </c:pt>
                <c:pt idx="339">
                  <c:v>21.31</c:v>
                </c:pt>
                <c:pt idx="340">
                  <c:v>25.22</c:v>
                </c:pt>
                <c:pt idx="341">
                  <c:v>27.02</c:v>
                </c:pt>
                <c:pt idx="342">
                  <c:v>27.27</c:v>
                </c:pt>
                <c:pt idx="343">
                  <c:v>27.75</c:v>
                </c:pt>
                <c:pt idx="344">
                  <c:v>26.16</c:v>
                </c:pt>
                <c:pt idx="345">
                  <c:v>26.83</c:v>
                </c:pt>
                <c:pt idx="346">
                  <c:v>27.92</c:v>
                </c:pt>
                <c:pt idx="347">
                  <c:v>28.43</c:v>
                </c:pt>
                <c:pt idx="348">
                  <c:v>26.14</c:v>
                </c:pt>
                <c:pt idx="349">
                  <c:v>27.87</c:v>
                </c:pt>
                <c:pt idx="350">
                  <c:v>27.4</c:v>
                </c:pt>
                <c:pt idx="351">
                  <c:v>27.84</c:v>
                </c:pt>
                <c:pt idx="352">
                  <c:v>29.43</c:v>
                </c:pt>
                <c:pt idx="353">
                  <c:v>28.97</c:v>
                </c:pt>
                <c:pt idx="354">
                  <c:v>30.2</c:v>
                </c:pt>
                <c:pt idx="355">
                  <c:v>29.69</c:v>
                </c:pt>
                <c:pt idx="356">
                  <c:v>30</c:v>
                </c:pt>
                <c:pt idx="357">
                  <c:v>29.11</c:v>
                </c:pt>
                <c:pt idx="358">
                  <c:v>29.77</c:v>
                </c:pt>
                <c:pt idx="359">
                  <c:v>28.48</c:v>
                </c:pt>
                <c:pt idx="360">
                  <c:v>31.95</c:v>
                </c:pt>
                <c:pt idx="361">
                  <c:v>30.38</c:v>
                </c:pt>
                <c:pt idx="362">
                  <c:v>32.4</c:v>
                </c:pt>
                <c:pt idx="363">
                  <c:v>31.43</c:v>
                </c:pt>
                <c:pt idx="364">
                  <c:v>33.81</c:v>
                </c:pt>
                <c:pt idx="365">
                  <c:v>33.65</c:v>
                </c:pt>
                <c:pt idx="366">
                  <c:v>35.06</c:v>
                </c:pt>
                <c:pt idx="367">
                  <c:v>34.380000000000003</c:v>
                </c:pt>
                <c:pt idx="368">
                  <c:v>34.29</c:v>
                </c:pt>
                <c:pt idx="369">
                  <c:v>29.99</c:v>
                </c:pt>
                <c:pt idx="370">
                  <c:v>32.51</c:v>
                </c:pt>
                <c:pt idx="371">
                  <c:v>32.82</c:v>
                </c:pt>
                <c:pt idx="372">
                  <c:v>32.159999999999997</c:v>
                </c:pt>
                <c:pt idx="373">
                  <c:v>33.39</c:v>
                </c:pt>
                <c:pt idx="374">
                  <c:v>32.76</c:v>
                </c:pt>
                <c:pt idx="375">
                  <c:v>32.71</c:v>
                </c:pt>
                <c:pt idx="376">
                  <c:v>34.700000000000003</c:v>
                </c:pt>
                <c:pt idx="377">
                  <c:v>32.979999999999997</c:v>
                </c:pt>
                <c:pt idx="378">
                  <c:v>35.64</c:v>
                </c:pt>
                <c:pt idx="379">
                  <c:v>34.72</c:v>
                </c:pt>
                <c:pt idx="380">
                  <c:v>34.85</c:v>
                </c:pt>
                <c:pt idx="381">
                  <c:v>37.380000000000003</c:v>
                </c:pt>
                <c:pt idx="382">
                  <c:v>37.42</c:v>
                </c:pt>
                <c:pt idx="383">
                  <c:v>33.229999999999997</c:v>
                </c:pt>
                <c:pt idx="384">
                  <c:v>34.799999999999997</c:v>
                </c:pt>
                <c:pt idx="385">
                  <c:v>34.33</c:v>
                </c:pt>
                <c:pt idx="386">
                  <c:v>36.020000000000003</c:v>
                </c:pt>
                <c:pt idx="387">
                  <c:v>37.03</c:v>
                </c:pt>
                <c:pt idx="388">
                  <c:v>39.04</c:v>
                </c:pt>
                <c:pt idx="389">
                  <c:v>35.840000000000003</c:v>
                </c:pt>
                <c:pt idx="390">
                  <c:v>36.29</c:v>
                </c:pt>
                <c:pt idx="391">
                  <c:v>35.409999999999997</c:v>
                </c:pt>
                <c:pt idx="392">
                  <c:v>36.700000000000003</c:v>
                </c:pt>
                <c:pt idx="393">
                  <c:v>34.72</c:v>
                </c:pt>
                <c:pt idx="394">
                  <c:v>36.42</c:v>
                </c:pt>
                <c:pt idx="395">
                  <c:v>36.619999999999997</c:v>
                </c:pt>
                <c:pt idx="396">
                  <c:v>36.44</c:v>
                </c:pt>
                <c:pt idx="397">
                  <c:v>35.770000000000003</c:v>
                </c:pt>
                <c:pt idx="398">
                  <c:v>31.65</c:v>
                </c:pt>
                <c:pt idx="399">
                  <c:v>33.619999999999997</c:v>
                </c:pt>
                <c:pt idx="400">
                  <c:v>31.28</c:v>
                </c:pt>
                <c:pt idx="401">
                  <c:v>32.96</c:v>
                </c:pt>
                <c:pt idx="402">
                  <c:v>31.56</c:v>
                </c:pt>
                <c:pt idx="403">
                  <c:v>33.549999999999997</c:v>
                </c:pt>
                <c:pt idx="404">
                  <c:v>32.32</c:v>
                </c:pt>
                <c:pt idx="405">
                  <c:v>32.94</c:v>
                </c:pt>
                <c:pt idx="406">
                  <c:v>33.28</c:v>
                </c:pt>
                <c:pt idx="407">
                  <c:v>35.200000000000003</c:v>
                </c:pt>
                <c:pt idx="408">
                  <c:v>33.96</c:v>
                </c:pt>
                <c:pt idx="409">
                  <c:v>33.17</c:v>
                </c:pt>
                <c:pt idx="410">
                  <c:v>32.6</c:v>
                </c:pt>
                <c:pt idx="411">
                  <c:v>32.57</c:v>
                </c:pt>
                <c:pt idx="412">
                  <c:v>32.01</c:v>
                </c:pt>
                <c:pt idx="413">
                  <c:v>32.15</c:v>
                </c:pt>
                <c:pt idx="414">
                  <c:v>31.77</c:v>
                </c:pt>
                <c:pt idx="415">
                  <c:v>32.369999999999997</c:v>
                </c:pt>
                <c:pt idx="416">
                  <c:v>34.33</c:v>
                </c:pt>
                <c:pt idx="417">
                  <c:v>33.08</c:v>
                </c:pt>
                <c:pt idx="418">
                  <c:v>34.24</c:v>
                </c:pt>
                <c:pt idx="419">
                  <c:v>35.56</c:v>
                </c:pt>
                <c:pt idx="420">
                  <c:v>35.99</c:v>
                </c:pt>
                <c:pt idx="421">
                  <c:v>35.19</c:v>
                </c:pt>
                <c:pt idx="422">
                  <c:v>34.33</c:v>
                </c:pt>
                <c:pt idx="423">
                  <c:v>33.729999999999997</c:v>
                </c:pt>
                <c:pt idx="424">
                  <c:v>32.950000000000003</c:v>
                </c:pt>
                <c:pt idx="425">
                  <c:v>33.65</c:v>
                </c:pt>
                <c:pt idx="426">
                  <c:v>34.159999999999997</c:v>
                </c:pt>
                <c:pt idx="427">
                  <c:v>32.17</c:v>
                </c:pt>
                <c:pt idx="428">
                  <c:v>32.869999999999997</c:v>
                </c:pt>
                <c:pt idx="429">
                  <c:v>32.69</c:v>
                </c:pt>
                <c:pt idx="430">
                  <c:v>31.48</c:v>
                </c:pt>
                <c:pt idx="431">
                  <c:v>32.700000000000003</c:v>
                </c:pt>
                <c:pt idx="432">
                  <c:v>33.26</c:v>
                </c:pt>
                <c:pt idx="433">
                  <c:v>29.91</c:v>
                </c:pt>
                <c:pt idx="434">
                  <c:v>33.94</c:v>
                </c:pt>
                <c:pt idx="435">
                  <c:v>31.44</c:v>
                </c:pt>
                <c:pt idx="436">
                  <c:v>32.380000000000003</c:v>
                </c:pt>
                <c:pt idx="437">
                  <c:v>33.93</c:v>
                </c:pt>
                <c:pt idx="439">
                  <c:v>31.14</c:v>
                </c:pt>
                <c:pt idx="440">
                  <c:v>28</c:v>
                </c:pt>
                <c:pt idx="441">
                  <c:v>27.57</c:v>
                </c:pt>
                <c:pt idx="442">
                  <c:v>29.75</c:v>
                </c:pt>
                <c:pt idx="443">
                  <c:v>30.77</c:v>
                </c:pt>
                <c:pt idx="444">
                  <c:v>31.51</c:v>
                </c:pt>
                <c:pt idx="445">
                  <c:v>29.33</c:v>
                </c:pt>
                <c:pt idx="446">
                  <c:v>29.73</c:v>
                </c:pt>
                <c:pt idx="447">
                  <c:v>29.27</c:v>
                </c:pt>
                <c:pt idx="448">
                  <c:v>23.56</c:v>
                </c:pt>
                <c:pt idx="449">
                  <c:v>27.27</c:v>
                </c:pt>
                <c:pt idx="450">
                  <c:v>26.35</c:v>
                </c:pt>
                <c:pt idx="451">
                  <c:v>26.28</c:v>
                </c:pt>
                <c:pt idx="452">
                  <c:v>30.31</c:v>
                </c:pt>
                <c:pt idx="453">
                  <c:v>28.03</c:v>
                </c:pt>
                <c:pt idx="454">
                  <c:v>26.97</c:v>
                </c:pt>
                <c:pt idx="455">
                  <c:v>27.31</c:v>
                </c:pt>
                <c:pt idx="456">
                  <c:v>29.02</c:v>
                </c:pt>
                <c:pt idx="457">
                  <c:v>28.19</c:v>
                </c:pt>
                <c:pt idx="458">
                  <c:v>28.57</c:v>
                </c:pt>
                <c:pt idx="459">
                  <c:v>26.21</c:v>
                </c:pt>
                <c:pt idx="460">
                  <c:v>27.76</c:v>
                </c:pt>
                <c:pt idx="461">
                  <c:v>26.73</c:v>
                </c:pt>
                <c:pt idx="462">
                  <c:v>26.35</c:v>
                </c:pt>
                <c:pt idx="463">
                  <c:v>26.36</c:v>
                </c:pt>
                <c:pt idx="464">
                  <c:v>27.49</c:v>
                </c:pt>
                <c:pt idx="465">
                  <c:v>28.31</c:v>
                </c:pt>
                <c:pt idx="466">
                  <c:v>27.42</c:v>
                </c:pt>
                <c:pt idx="467">
                  <c:v>25.87</c:v>
                </c:pt>
                <c:pt idx="468">
                  <c:v>28.67</c:v>
                </c:pt>
                <c:pt idx="469">
                  <c:v>28.45</c:v>
                </c:pt>
                <c:pt idx="470">
                  <c:v>29.42</c:v>
                </c:pt>
                <c:pt idx="471">
                  <c:v>27.88</c:v>
                </c:pt>
                <c:pt idx="472">
                  <c:v>29.21</c:v>
                </c:pt>
                <c:pt idx="473">
                  <c:v>27.6</c:v>
                </c:pt>
                <c:pt idx="474">
                  <c:v>29.94</c:v>
                </c:pt>
                <c:pt idx="475">
                  <c:v>29.04</c:v>
                </c:pt>
                <c:pt idx="476">
                  <c:v>27.11</c:v>
                </c:pt>
                <c:pt idx="477">
                  <c:v>29.15</c:v>
                </c:pt>
                <c:pt idx="478">
                  <c:v>29.29</c:v>
                </c:pt>
                <c:pt idx="479">
                  <c:v>28.95</c:v>
                </c:pt>
                <c:pt idx="480">
                  <c:v>30.09</c:v>
                </c:pt>
                <c:pt idx="481">
                  <c:v>29.04</c:v>
                </c:pt>
                <c:pt idx="482">
                  <c:v>27.33</c:v>
                </c:pt>
                <c:pt idx="483">
                  <c:v>27.14</c:v>
                </c:pt>
                <c:pt idx="495">
                  <c:v>31.1</c:v>
                </c:pt>
                <c:pt idx="496">
                  <c:v>29.59</c:v>
                </c:pt>
                <c:pt idx="497">
                  <c:v>29</c:v>
                </c:pt>
                <c:pt idx="498">
                  <c:v>24.66</c:v>
                </c:pt>
                <c:pt idx="499">
                  <c:v>27.6</c:v>
                </c:pt>
                <c:pt idx="500">
                  <c:v>26.12</c:v>
                </c:pt>
                <c:pt idx="501">
                  <c:v>31.4</c:v>
                </c:pt>
                <c:pt idx="502">
                  <c:v>27.53</c:v>
                </c:pt>
                <c:pt idx="503">
                  <c:v>27.33</c:v>
                </c:pt>
                <c:pt idx="504">
                  <c:v>25.46</c:v>
                </c:pt>
                <c:pt idx="505">
                  <c:v>24.92</c:v>
                </c:pt>
                <c:pt idx="506">
                  <c:v>26.93</c:v>
                </c:pt>
                <c:pt idx="507">
                  <c:v>27.29</c:v>
                </c:pt>
                <c:pt idx="508">
                  <c:v>27.54</c:v>
                </c:pt>
                <c:pt idx="509">
                  <c:v>28.68</c:v>
                </c:pt>
                <c:pt idx="510">
                  <c:v>28.84</c:v>
                </c:pt>
                <c:pt idx="511">
                  <c:v>28.01</c:v>
                </c:pt>
                <c:pt idx="512">
                  <c:v>27.21</c:v>
                </c:pt>
                <c:pt idx="513">
                  <c:v>28.77</c:v>
                </c:pt>
                <c:pt idx="514">
                  <c:v>29.62</c:v>
                </c:pt>
                <c:pt idx="515">
                  <c:v>29.31</c:v>
                </c:pt>
                <c:pt idx="516">
                  <c:v>31.39</c:v>
                </c:pt>
                <c:pt idx="517">
                  <c:v>28.58</c:v>
                </c:pt>
                <c:pt idx="518">
                  <c:v>31.15</c:v>
                </c:pt>
                <c:pt idx="519">
                  <c:v>30.25</c:v>
                </c:pt>
                <c:pt idx="520">
                  <c:v>30.78</c:v>
                </c:pt>
                <c:pt idx="521">
                  <c:v>30.87</c:v>
                </c:pt>
                <c:pt idx="522">
                  <c:v>34.619999999999997</c:v>
                </c:pt>
                <c:pt idx="523">
                  <c:v>31.97</c:v>
                </c:pt>
                <c:pt idx="524">
                  <c:v>30.69</c:v>
                </c:pt>
                <c:pt idx="525">
                  <c:v>31.31</c:v>
                </c:pt>
                <c:pt idx="526">
                  <c:v>36.950000000000003</c:v>
                </c:pt>
                <c:pt idx="527">
                  <c:v>33.06</c:v>
                </c:pt>
                <c:pt idx="528">
                  <c:v>33.25</c:v>
                </c:pt>
                <c:pt idx="529">
                  <c:v>35.19</c:v>
                </c:pt>
                <c:pt idx="530">
                  <c:v>35.86</c:v>
                </c:pt>
                <c:pt idx="531">
                  <c:v>36.479999999999997</c:v>
                </c:pt>
                <c:pt idx="532">
                  <c:v>36.229999999999997</c:v>
                </c:pt>
                <c:pt idx="533">
                  <c:v>36.549999999999997</c:v>
                </c:pt>
                <c:pt idx="534">
                  <c:v>35.549999999999997</c:v>
                </c:pt>
                <c:pt idx="535">
                  <c:v>32.43</c:v>
                </c:pt>
                <c:pt idx="536">
                  <c:v>36.1</c:v>
                </c:pt>
                <c:pt idx="537">
                  <c:v>37.57</c:v>
                </c:pt>
                <c:pt idx="538">
                  <c:v>37.549999999999997</c:v>
                </c:pt>
                <c:pt idx="539">
                  <c:v>37.32</c:v>
                </c:pt>
                <c:pt idx="540">
                  <c:v>37.28</c:v>
                </c:pt>
                <c:pt idx="541">
                  <c:v>38.32</c:v>
                </c:pt>
                <c:pt idx="542">
                  <c:v>38.67</c:v>
                </c:pt>
                <c:pt idx="543">
                  <c:v>36.68</c:v>
                </c:pt>
                <c:pt idx="544">
                  <c:v>34.51</c:v>
                </c:pt>
                <c:pt idx="545">
                  <c:v>36.06</c:v>
                </c:pt>
                <c:pt idx="546">
                  <c:v>33.64</c:v>
                </c:pt>
                <c:pt idx="547">
                  <c:v>32.229999999999997</c:v>
                </c:pt>
                <c:pt idx="548">
                  <c:v>35.65</c:v>
                </c:pt>
                <c:pt idx="549">
                  <c:v>35.42</c:v>
                </c:pt>
                <c:pt idx="550">
                  <c:v>35.89</c:v>
                </c:pt>
                <c:pt idx="551">
                  <c:v>35.799999999999997</c:v>
                </c:pt>
                <c:pt idx="552">
                  <c:v>35.72</c:v>
                </c:pt>
                <c:pt idx="553">
                  <c:v>36.31</c:v>
                </c:pt>
                <c:pt idx="554">
                  <c:v>37.119999999999997</c:v>
                </c:pt>
                <c:pt idx="555">
                  <c:v>37</c:v>
                </c:pt>
                <c:pt idx="556">
                  <c:v>38.340000000000003</c:v>
                </c:pt>
                <c:pt idx="557">
                  <c:v>35.5</c:v>
                </c:pt>
                <c:pt idx="558">
                  <c:v>33.549999999999997</c:v>
                </c:pt>
                <c:pt idx="559">
                  <c:v>36.659999999999997</c:v>
                </c:pt>
                <c:pt idx="560">
                  <c:v>34.75</c:v>
                </c:pt>
                <c:pt idx="563">
                  <c:v>36.9</c:v>
                </c:pt>
                <c:pt idx="564">
                  <c:v>37.44</c:v>
                </c:pt>
                <c:pt idx="565">
                  <c:v>36.44</c:v>
                </c:pt>
                <c:pt idx="566">
                  <c:v>36.700000000000003</c:v>
                </c:pt>
                <c:pt idx="567">
                  <c:v>37.43</c:v>
                </c:pt>
                <c:pt idx="568">
                  <c:v>37.5</c:v>
                </c:pt>
                <c:pt idx="569">
                  <c:v>37.26</c:v>
                </c:pt>
                <c:pt idx="570">
                  <c:v>38.229999999999997</c:v>
                </c:pt>
                <c:pt idx="571">
                  <c:v>37.630000000000003</c:v>
                </c:pt>
                <c:pt idx="572">
                  <c:v>35.869999999999997</c:v>
                </c:pt>
                <c:pt idx="573">
                  <c:v>37.36</c:v>
                </c:pt>
                <c:pt idx="574">
                  <c:v>37.42</c:v>
                </c:pt>
                <c:pt idx="575">
                  <c:v>38.49</c:v>
                </c:pt>
                <c:pt idx="576">
                  <c:v>40.299999999999997</c:v>
                </c:pt>
                <c:pt idx="577">
                  <c:v>37.29</c:v>
                </c:pt>
                <c:pt idx="578">
                  <c:v>39.47</c:v>
                </c:pt>
                <c:pt idx="579">
                  <c:v>41.54</c:v>
                </c:pt>
                <c:pt idx="580">
                  <c:v>40.49</c:v>
                </c:pt>
                <c:pt idx="581">
                  <c:v>39.909999999999997</c:v>
                </c:pt>
                <c:pt idx="582">
                  <c:v>37.47</c:v>
                </c:pt>
                <c:pt idx="583">
                  <c:v>39.909999999999997</c:v>
                </c:pt>
                <c:pt idx="584">
                  <c:v>37.299999999999997</c:v>
                </c:pt>
                <c:pt idx="585">
                  <c:v>38.799999999999997</c:v>
                </c:pt>
                <c:pt idx="586">
                  <c:v>38.450000000000003</c:v>
                </c:pt>
                <c:pt idx="587">
                  <c:v>39.54</c:v>
                </c:pt>
                <c:pt idx="588">
                  <c:v>40.15</c:v>
                </c:pt>
                <c:pt idx="589">
                  <c:v>41.35</c:v>
                </c:pt>
                <c:pt idx="590">
                  <c:v>39.590000000000003</c:v>
                </c:pt>
                <c:pt idx="591">
                  <c:v>38.799999999999997</c:v>
                </c:pt>
                <c:pt idx="592">
                  <c:v>39.049999999999997</c:v>
                </c:pt>
                <c:pt idx="593">
                  <c:v>36.71</c:v>
                </c:pt>
                <c:pt idx="594">
                  <c:v>36.19</c:v>
                </c:pt>
                <c:pt idx="595">
                  <c:v>33.43</c:v>
                </c:pt>
                <c:pt idx="596">
                  <c:v>35.74</c:v>
                </c:pt>
                <c:pt idx="597">
                  <c:v>34.299999999999997</c:v>
                </c:pt>
                <c:pt idx="598">
                  <c:v>34.950000000000003</c:v>
                </c:pt>
                <c:pt idx="599">
                  <c:v>34.83</c:v>
                </c:pt>
                <c:pt idx="600">
                  <c:v>36.17</c:v>
                </c:pt>
                <c:pt idx="601">
                  <c:v>37.82</c:v>
                </c:pt>
                <c:pt idx="602">
                  <c:v>36.619999999999997</c:v>
                </c:pt>
                <c:pt idx="603">
                  <c:v>35.85</c:v>
                </c:pt>
                <c:pt idx="604">
                  <c:v>36.96</c:v>
                </c:pt>
                <c:pt idx="605">
                  <c:v>36.49</c:v>
                </c:pt>
                <c:pt idx="606">
                  <c:v>36.159999999999997</c:v>
                </c:pt>
                <c:pt idx="607">
                  <c:v>36.24</c:v>
                </c:pt>
                <c:pt idx="608">
                  <c:v>37.130000000000003</c:v>
                </c:pt>
                <c:pt idx="609">
                  <c:v>40.049999999999997</c:v>
                </c:pt>
                <c:pt idx="610">
                  <c:v>36.42</c:v>
                </c:pt>
                <c:pt idx="611">
                  <c:v>34.520000000000003</c:v>
                </c:pt>
                <c:pt idx="612">
                  <c:v>39.08</c:v>
                </c:pt>
                <c:pt idx="613">
                  <c:v>37.880000000000003</c:v>
                </c:pt>
                <c:pt idx="614">
                  <c:v>34.69</c:v>
                </c:pt>
                <c:pt idx="615">
                  <c:v>37.450000000000003</c:v>
                </c:pt>
                <c:pt idx="620">
                  <c:v>38.35</c:v>
                </c:pt>
                <c:pt idx="621">
                  <c:v>38.43</c:v>
                </c:pt>
                <c:pt idx="622">
                  <c:v>37.67</c:v>
                </c:pt>
                <c:pt idx="623">
                  <c:v>38.93</c:v>
                </c:pt>
                <c:pt idx="624">
                  <c:v>38.799999999999997</c:v>
                </c:pt>
                <c:pt idx="625">
                  <c:v>38.79</c:v>
                </c:pt>
                <c:pt idx="626">
                  <c:v>38.54</c:v>
                </c:pt>
                <c:pt idx="627">
                  <c:v>37.090000000000003</c:v>
                </c:pt>
                <c:pt idx="628">
                  <c:v>36.130000000000003</c:v>
                </c:pt>
                <c:pt idx="629">
                  <c:v>36.08</c:v>
                </c:pt>
                <c:pt idx="630">
                  <c:v>36.950000000000003</c:v>
                </c:pt>
                <c:pt idx="631">
                  <c:v>35.57</c:v>
                </c:pt>
                <c:pt idx="632">
                  <c:v>38.03</c:v>
                </c:pt>
                <c:pt idx="633">
                  <c:v>35.71</c:v>
                </c:pt>
                <c:pt idx="634">
                  <c:v>32.99</c:v>
                </c:pt>
                <c:pt idx="635">
                  <c:v>37.549999999999997</c:v>
                </c:pt>
                <c:pt idx="636">
                  <c:v>36.229999999999997</c:v>
                </c:pt>
                <c:pt idx="637">
                  <c:v>35.659999999999997</c:v>
                </c:pt>
                <c:pt idx="638">
                  <c:v>35.35</c:v>
                </c:pt>
                <c:pt idx="639">
                  <c:v>33.869999999999997</c:v>
                </c:pt>
                <c:pt idx="640">
                  <c:v>31.73</c:v>
                </c:pt>
                <c:pt idx="641">
                  <c:v>34.96</c:v>
                </c:pt>
                <c:pt idx="642">
                  <c:v>32.67</c:v>
                </c:pt>
                <c:pt idx="643">
                  <c:v>34.65</c:v>
                </c:pt>
                <c:pt idx="644">
                  <c:v>33.89</c:v>
                </c:pt>
                <c:pt idx="645">
                  <c:v>33.53</c:v>
                </c:pt>
                <c:pt idx="646">
                  <c:v>32.53</c:v>
                </c:pt>
                <c:pt idx="647">
                  <c:v>33.25</c:v>
                </c:pt>
                <c:pt idx="648">
                  <c:v>31.25</c:v>
                </c:pt>
                <c:pt idx="649">
                  <c:v>32.659999999999997</c:v>
                </c:pt>
                <c:pt idx="650">
                  <c:v>30.52</c:v>
                </c:pt>
                <c:pt idx="651">
                  <c:v>28.48</c:v>
                </c:pt>
                <c:pt idx="652">
                  <c:v>29</c:v>
                </c:pt>
                <c:pt idx="653">
                  <c:v>29.34</c:v>
                </c:pt>
                <c:pt idx="654">
                  <c:v>29.78</c:v>
                </c:pt>
                <c:pt idx="655">
                  <c:v>30.19</c:v>
                </c:pt>
                <c:pt idx="656">
                  <c:v>28.91</c:v>
                </c:pt>
                <c:pt idx="657">
                  <c:v>29.22</c:v>
                </c:pt>
                <c:pt idx="658">
                  <c:v>30.79</c:v>
                </c:pt>
                <c:pt idx="659">
                  <c:v>32.15</c:v>
                </c:pt>
                <c:pt idx="660">
                  <c:v>31.22</c:v>
                </c:pt>
                <c:pt idx="661">
                  <c:v>30.42</c:v>
                </c:pt>
                <c:pt idx="662">
                  <c:v>34.549999999999997</c:v>
                </c:pt>
                <c:pt idx="663">
                  <c:v>34.92</c:v>
                </c:pt>
                <c:pt idx="664">
                  <c:v>34.43</c:v>
                </c:pt>
                <c:pt idx="665">
                  <c:v>32.33</c:v>
                </c:pt>
                <c:pt idx="666">
                  <c:v>33.33</c:v>
                </c:pt>
                <c:pt idx="667">
                  <c:v>33.619999999999997</c:v>
                </c:pt>
                <c:pt idx="668">
                  <c:v>33.68</c:v>
                </c:pt>
                <c:pt idx="669">
                  <c:v>32.57</c:v>
                </c:pt>
                <c:pt idx="670">
                  <c:v>33.950000000000003</c:v>
                </c:pt>
                <c:pt idx="671">
                  <c:v>33.950000000000003</c:v>
                </c:pt>
                <c:pt idx="672">
                  <c:v>32.6</c:v>
                </c:pt>
                <c:pt idx="673">
                  <c:v>31.26</c:v>
                </c:pt>
                <c:pt idx="674">
                  <c:v>33.21</c:v>
                </c:pt>
                <c:pt idx="675">
                  <c:v>31.8</c:v>
                </c:pt>
                <c:pt idx="676">
                  <c:v>32.69</c:v>
                </c:pt>
                <c:pt idx="677">
                  <c:v>32.630000000000003</c:v>
                </c:pt>
                <c:pt idx="678">
                  <c:v>33.32</c:v>
                </c:pt>
                <c:pt idx="679">
                  <c:v>33.03</c:v>
                </c:pt>
                <c:pt idx="680">
                  <c:v>34.159999999999997</c:v>
                </c:pt>
                <c:pt idx="681">
                  <c:v>34.630000000000003</c:v>
                </c:pt>
                <c:pt idx="682">
                  <c:v>33.24</c:v>
                </c:pt>
                <c:pt idx="683">
                  <c:v>33.35</c:v>
                </c:pt>
                <c:pt idx="684">
                  <c:v>34.369999999999997</c:v>
                </c:pt>
                <c:pt idx="685">
                  <c:v>33.9</c:v>
                </c:pt>
                <c:pt idx="686">
                  <c:v>34.869999999999997</c:v>
                </c:pt>
                <c:pt idx="687">
                  <c:v>34.520000000000003</c:v>
                </c:pt>
                <c:pt idx="688">
                  <c:v>35.08</c:v>
                </c:pt>
                <c:pt idx="689">
                  <c:v>34.69</c:v>
                </c:pt>
                <c:pt idx="690">
                  <c:v>34.43</c:v>
                </c:pt>
                <c:pt idx="691">
                  <c:v>34.299999999999997</c:v>
                </c:pt>
                <c:pt idx="692">
                  <c:v>33.67</c:v>
                </c:pt>
                <c:pt idx="693">
                  <c:v>32.61</c:v>
                </c:pt>
                <c:pt idx="694">
                  <c:v>30.91</c:v>
                </c:pt>
                <c:pt idx="695">
                  <c:v>28.39</c:v>
                </c:pt>
                <c:pt idx="696">
                  <c:v>27.89</c:v>
                </c:pt>
                <c:pt idx="697">
                  <c:v>27.31</c:v>
                </c:pt>
                <c:pt idx="698">
                  <c:v>29.43</c:v>
                </c:pt>
                <c:pt idx="699">
                  <c:v>30.05</c:v>
                </c:pt>
                <c:pt idx="700">
                  <c:v>31.24</c:v>
                </c:pt>
                <c:pt idx="701">
                  <c:v>29.03</c:v>
                </c:pt>
                <c:pt idx="702">
                  <c:v>31.41</c:v>
                </c:pt>
                <c:pt idx="703">
                  <c:v>31.76</c:v>
                </c:pt>
                <c:pt idx="704">
                  <c:v>32.590000000000003</c:v>
                </c:pt>
                <c:pt idx="705">
                  <c:v>31.62</c:v>
                </c:pt>
                <c:pt idx="706">
                  <c:v>31.12</c:v>
                </c:pt>
                <c:pt idx="707">
                  <c:v>32.909999999999997</c:v>
                </c:pt>
                <c:pt idx="708">
                  <c:v>31.56</c:v>
                </c:pt>
                <c:pt idx="709">
                  <c:v>31.33</c:v>
                </c:pt>
                <c:pt idx="710">
                  <c:v>30.71</c:v>
                </c:pt>
                <c:pt idx="711">
                  <c:v>29.84</c:v>
                </c:pt>
                <c:pt idx="712">
                  <c:v>35.24</c:v>
                </c:pt>
                <c:pt idx="713">
                  <c:v>32.19</c:v>
                </c:pt>
                <c:pt idx="714">
                  <c:v>30.4</c:v>
                </c:pt>
                <c:pt idx="715">
                  <c:v>31.46</c:v>
                </c:pt>
                <c:pt idx="716">
                  <c:v>30.41</c:v>
                </c:pt>
                <c:pt idx="717">
                  <c:v>32.83</c:v>
                </c:pt>
                <c:pt idx="718">
                  <c:v>33.49</c:v>
                </c:pt>
                <c:pt idx="719">
                  <c:v>31.45</c:v>
                </c:pt>
                <c:pt idx="720">
                  <c:v>31.51</c:v>
                </c:pt>
                <c:pt idx="721">
                  <c:v>31.09</c:v>
                </c:pt>
                <c:pt idx="722">
                  <c:v>31.65</c:v>
                </c:pt>
                <c:pt idx="723">
                  <c:v>31.34</c:v>
                </c:pt>
                <c:pt idx="724">
                  <c:v>31.64</c:v>
                </c:pt>
                <c:pt idx="725">
                  <c:v>32.130000000000003</c:v>
                </c:pt>
                <c:pt idx="726">
                  <c:v>32.42</c:v>
                </c:pt>
                <c:pt idx="727">
                  <c:v>32.11</c:v>
                </c:pt>
                <c:pt idx="728">
                  <c:v>33.130000000000003</c:v>
                </c:pt>
                <c:pt idx="729">
                  <c:v>34.15</c:v>
                </c:pt>
                <c:pt idx="730">
                  <c:v>31.97</c:v>
                </c:pt>
                <c:pt idx="731">
                  <c:v>31.26</c:v>
                </c:pt>
                <c:pt idx="732">
                  <c:v>33.49</c:v>
                </c:pt>
                <c:pt idx="733">
                  <c:v>33.21</c:v>
                </c:pt>
                <c:pt idx="734">
                  <c:v>32.369999999999997</c:v>
                </c:pt>
                <c:pt idx="735">
                  <c:v>35.6</c:v>
                </c:pt>
                <c:pt idx="736">
                  <c:v>35.44</c:v>
                </c:pt>
                <c:pt idx="737">
                  <c:v>35.619999999999997</c:v>
                </c:pt>
                <c:pt idx="738">
                  <c:v>33.79</c:v>
                </c:pt>
                <c:pt idx="739">
                  <c:v>32.64</c:v>
                </c:pt>
                <c:pt idx="740">
                  <c:v>31.56</c:v>
                </c:pt>
                <c:pt idx="741">
                  <c:v>33.47</c:v>
                </c:pt>
                <c:pt idx="742">
                  <c:v>30.05</c:v>
                </c:pt>
                <c:pt idx="743">
                  <c:v>32.47</c:v>
                </c:pt>
                <c:pt idx="744">
                  <c:v>31.72</c:v>
                </c:pt>
                <c:pt idx="745">
                  <c:v>32.409999999999997</c:v>
                </c:pt>
                <c:pt idx="746">
                  <c:v>33.299999999999997</c:v>
                </c:pt>
                <c:pt idx="747">
                  <c:v>34.19</c:v>
                </c:pt>
                <c:pt idx="748">
                  <c:v>33.54</c:v>
                </c:pt>
                <c:pt idx="749">
                  <c:v>33.79</c:v>
                </c:pt>
                <c:pt idx="750">
                  <c:v>35.04</c:v>
                </c:pt>
                <c:pt idx="751">
                  <c:v>34.92</c:v>
                </c:pt>
                <c:pt idx="752">
                  <c:v>34.409999999999997</c:v>
                </c:pt>
                <c:pt idx="753">
                  <c:v>37.18</c:v>
                </c:pt>
                <c:pt idx="754">
                  <c:v>35.03</c:v>
                </c:pt>
                <c:pt idx="755">
                  <c:v>36.06</c:v>
                </c:pt>
                <c:pt idx="756">
                  <c:v>35.54</c:v>
                </c:pt>
                <c:pt idx="757">
                  <c:v>34.409999999999997</c:v>
                </c:pt>
                <c:pt idx="758">
                  <c:v>36.96</c:v>
                </c:pt>
                <c:pt idx="759">
                  <c:v>36.32</c:v>
                </c:pt>
                <c:pt idx="760">
                  <c:v>38.61</c:v>
                </c:pt>
                <c:pt idx="761">
                  <c:v>34.65</c:v>
                </c:pt>
                <c:pt idx="762">
                  <c:v>35.75</c:v>
                </c:pt>
                <c:pt idx="763">
                  <c:v>36.18</c:v>
                </c:pt>
                <c:pt idx="764">
                  <c:v>35.67</c:v>
                </c:pt>
                <c:pt idx="765">
                  <c:v>37.79</c:v>
                </c:pt>
                <c:pt idx="766">
                  <c:v>36.1</c:v>
                </c:pt>
                <c:pt idx="767">
                  <c:v>38.159999999999997</c:v>
                </c:pt>
                <c:pt idx="768">
                  <c:v>37.840000000000003</c:v>
                </c:pt>
                <c:pt idx="769">
                  <c:v>38.89</c:v>
                </c:pt>
                <c:pt idx="770">
                  <c:v>37.65</c:v>
                </c:pt>
                <c:pt idx="771">
                  <c:v>38.65</c:v>
                </c:pt>
                <c:pt idx="772">
                  <c:v>37.29</c:v>
                </c:pt>
                <c:pt idx="773">
                  <c:v>39.17</c:v>
                </c:pt>
                <c:pt idx="774">
                  <c:v>41.49</c:v>
                </c:pt>
                <c:pt idx="775">
                  <c:v>41.73</c:v>
                </c:pt>
                <c:pt idx="776">
                  <c:v>41.38</c:v>
                </c:pt>
                <c:pt idx="777">
                  <c:v>43.46</c:v>
                </c:pt>
                <c:pt idx="778">
                  <c:v>42.81</c:v>
                </c:pt>
                <c:pt idx="779">
                  <c:v>43.63</c:v>
                </c:pt>
                <c:pt idx="780">
                  <c:v>43.65</c:v>
                </c:pt>
                <c:pt idx="781">
                  <c:v>38.119999999999997</c:v>
                </c:pt>
                <c:pt idx="782">
                  <c:v>39.29</c:v>
                </c:pt>
                <c:pt idx="783">
                  <c:v>36.39</c:v>
                </c:pt>
                <c:pt idx="784">
                  <c:v>39.200000000000003</c:v>
                </c:pt>
                <c:pt idx="785">
                  <c:v>38.89</c:v>
                </c:pt>
                <c:pt idx="786">
                  <c:v>39.46</c:v>
                </c:pt>
                <c:pt idx="787">
                  <c:v>37.42</c:v>
                </c:pt>
                <c:pt idx="788">
                  <c:v>37.549999999999997</c:v>
                </c:pt>
                <c:pt idx="789">
                  <c:v>37.67</c:v>
                </c:pt>
                <c:pt idx="790">
                  <c:v>37.81</c:v>
                </c:pt>
                <c:pt idx="791">
                  <c:v>40.39</c:v>
                </c:pt>
                <c:pt idx="792">
                  <c:v>41.17</c:v>
                </c:pt>
                <c:pt idx="793">
                  <c:v>40.78</c:v>
                </c:pt>
                <c:pt idx="794">
                  <c:v>38.979999999999997</c:v>
                </c:pt>
                <c:pt idx="795">
                  <c:v>41.9</c:v>
                </c:pt>
                <c:pt idx="796">
                  <c:v>42.81</c:v>
                </c:pt>
                <c:pt idx="797">
                  <c:v>40.130000000000003</c:v>
                </c:pt>
                <c:pt idx="798">
                  <c:v>40.68</c:v>
                </c:pt>
                <c:pt idx="799">
                  <c:v>41.04</c:v>
                </c:pt>
                <c:pt idx="800">
                  <c:v>40.74</c:v>
                </c:pt>
                <c:pt idx="801">
                  <c:v>43.97</c:v>
                </c:pt>
                <c:pt idx="802">
                  <c:v>43.09</c:v>
                </c:pt>
                <c:pt idx="803">
                  <c:v>43.66</c:v>
                </c:pt>
                <c:pt idx="804">
                  <c:v>42.84</c:v>
                </c:pt>
                <c:pt idx="805" formatCode="General">
                  <c:v>41.96</c:v>
                </c:pt>
                <c:pt idx="806" formatCode="General">
                  <c:v>41.33</c:v>
                </c:pt>
                <c:pt idx="807" formatCode="General">
                  <c:v>44.16</c:v>
                </c:pt>
              </c:numCache>
            </c:numRef>
          </c:val>
          <c:smooth val="0"/>
          <c:extLst>
            <c:ext xmlns:c16="http://schemas.microsoft.com/office/drawing/2014/chart" uri="{C3380CC4-5D6E-409C-BE32-E72D297353CC}">
              <c16:uniqueId val="{00000000-BB6C-40F3-B153-3D65ABD798E3}"/>
            </c:ext>
          </c:extLst>
        </c:ser>
        <c:dLbls>
          <c:showLegendKey val="0"/>
          <c:showVal val="0"/>
          <c:showCatName val="0"/>
          <c:showSerName val="0"/>
          <c:showPercent val="0"/>
          <c:showBubbleSize val="0"/>
        </c:dLbls>
        <c:smooth val="0"/>
        <c:axId val="2063831024"/>
        <c:axId val="1"/>
      </c:lineChart>
      <c:catAx>
        <c:axId val="20638310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3102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Oxen</a:t>
            </a:r>
          </a:p>
        </c:rich>
      </c:tx>
      <c:overlay val="0"/>
    </c:title>
    <c:autoTitleDeleted val="0"/>
    <c:plotArea>
      <c:layout/>
      <c:lineChart>
        <c:grouping val="standard"/>
        <c:varyColors val="0"/>
        <c:ser>
          <c:idx val="6"/>
          <c:order val="0"/>
          <c:tx>
            <c:strRef>
              <c:f>Summary!$F$3</c:f>
              <c:strCache>
                <c:ptCount val="1"/>
                <c:pt idx="0">
                  <c:v>Oxen</c:v>
                </c:pt>
              </c:strCache>
            </c:strRef>
          </c:tx>
          <c:spPr>
            <a:ln w="12700">
              <a:solidFill>
                <a:schemeClr val="tx1"/>
              </a:solidFill>
            </a:ln>
          </c:spPr>
          <c:marker>
            <c:symbol val="none"/>
          </c:marker>
          <c:cat>
            <c:numRef>
              <c:f>Summary!$B$4:$B$833</c:f>
              <c:numCache>
                <c:formatCode>General</c:formatCode>
                <c:ptCount val="830"/>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F$4:$F$833</c:f>
              <c:numCache>
                <c:formatCode>0.00</c:formatCode>
                <c:ptCount val="830"/>
                <c:pt idx="0">
                  <c:v>13.04</c:v>
                </c:pt>
                <c:pt idx="1">
                  <c:v>14.8</c:v>
                </c:pt>
                <c:pt idx="2">
                  <c:v>12.72</c:v>
                </c:pt>
                <c:pt idx="3">
                  <c:v>12.63</c:v>
                </c:pt>
                <c:pt idx="4">
                  <c:v>13.85</c:v>
                </c:pt>
                <c:pt idx="5">
                  <c:v>13.13</c:v>
                </c:pt>
                <c:pt idx="6">
                  <c:v>12.99</c:v>
                </c:pt>
                <c:pt idx="7">
                  <c:v>12.33</c:v>
                </c:pt>
                <c:pt idx="8">
                  <c:v>13.01</c:v>
                </c:pt>
                <c:pt idx="9">
                  <c:v>12.43</c:v>
                </c:pt>
                <c:pt idx="10">
                  <c:v>12.17</c:v>
                </c:pt>
                <c:pt idx="11">
                  <c:v>11.15</c:v>
                </c:pt>
                <c:pt idx="12">
                  <c:v>14.05</c:v>
                </c:pt>
                <c:pt idx="13">
                  <c:v>13.22</c:v>
                </c:pt>
                <c:pt idx="14">
                  <c:v>12.46</c:v>
                </c:pt>
                <c:pt idx="15">
                  <c:v>12.86</c:v>
                </c:pt>
                <c:pt idx="16">
                  <c:v>12.31</c:v>
                </c:pt>
                <c:pt idx="17">
                  <c:v>12.33</c:v>
                </c:pt>
                <c:pt idx="18">
                  <c:v>13.3</c:v>
                </c:pt>
                <c:pt idx="19">
                  <c:v>11.99</c:v>
                </c:pt>
                <c:pt idx="20">
                  <c:v>12.07</c:v>
                </c:pt>
                <c:pt idx="21">
                  <c:v>12.88</c:v>
                </c:pt>
                <c:pt idx="22">
                  <c:v>13.18</c:v>
                </c:pt>
                <c:pt idx="23">
                  <c:v>12.38</c:v>
                </c:pt>
                <c:pt idx="24">
                  <c:v>12.81</c:v>
                </c:pt>
                <c:pt idx="25">
                  <c:v>12.75</c:v>
                </c:pt>
                <c:pt idx="26">
                  <c:v>12.13</c:v>
                </c:pt>
                <c:pt idx="27">
                  <c:v>12.18</c:v>
                </c:pt>
                <c:pt idx="28">
                  <c:v>12.48</c:v>
                </c:pt>
                <c:pt idx="29">
                  <c:v>11.91</c:v>
                </c:pt>
                <c:pt idx="30">
                  <c:v>9.73</c:v>
                </c:pt>
                <c:pt idx="31">
                  <c:v>13</c:v>
                </c:pt>
                <c:pt idx="32">
                  <c:v>13.68</c:v>
                </c:pt>
                <c:pt idx="33">
                  <c:v>11.86</c:v>
                </c:pt>
                <c:pt idx="34">
                  <c:v>12.19</c:v>
                </c:pt>
                <c:pt idx="35">
                  <c:v>13.28</c:v>
                </c:pt>
                <c:pt idx="36">
                  <c:v>13.87</c:v>
                </c:pt>
                <c:pt idx="37">
                  <c:v>12.95</c:v>
                </c:pt>
                <c:pt idx="38">
                  <c:v>12.91</c:v>
                </c:pt>
                <c:pt idx="39">
                  <c:v>12.71</c:v>
                </c:pt>
                <c:pt idx="40">
                  <c:v>13.33</c:v>
                </c:pt>
                <c:pt idx="41">
                  <c:v>13.79</c:v>
                </c:pt>
                <c:pt idx="42">
                  <c:v>13.47</c:v>
                </c:pt>
                <c:pt idx="43">
                  <c:v>13.45</c:v>
                </c:pt>
                <c:pt idx="44">
                  <c:v>14.02</c:v>
                </c:pt>
                <c:pt idx="45">
                  <c:v>13.66</c:v>
                </c:pt>
                <c:pt idx="46">
                  <c:v>14.11</c:v>
                </c:pt>
                <c:pt idx="47">
                  <c:v>13.57</c:v>
                </c:pt>
                <c:pt idx="48">
                  <c:v>14.72</c:v>
                </c:pt>
                <c:pt idx="49">
                  <c:v>14.8</c:v>
                </c:pt>
                <c:pt idx="50">
                  <c:v>14.94</c:v>
                </c:pt>
                <c:pt idx="51">
                  <c:v>14.21</c:v>
                </c:pt>
                <c:pt idx="52">
                  <c:v>13.2</c:v>
                </c:pt>
                <c:pt idx="53">
                  <c:v>12.89</c:v>
                </c:pt>
                <c:pt idx="54">
                  <c:v>12.91</c:v>
                </c:pt>
                <c:pt idx="55">
                  <c:v>13.02</c:v>
                </c:pt>
                <c:pt idx="56">
                  <c:v>12.43</c:v>
                </c:pt>
                <c:pt idx="57">
                  <c:v>13.76</c:v>
                </c:pt>
                <c:pt idx="58">
                  <c:v>13.32</c:v>
                </c:pt>
                <c:pt idx="59">
                  <c:v>13.94</c:v>
                </c:pt>
                <c:pt idx="60">
                  <c:v>14.01</c:v>
                </c:pt>
                <c:pt idx="61">
                  <c:v>12.67</c:v>
                </c:pt>
                <c:pt idx="62">
                  <c:v>13.13</c:v>
                </c:pt>
                <c:pt idx="63">
                  <c:v>12.9</c:v>
                </c:pt>
                <c:pt idx="64">
                  <c:v>14.9</c:v>
                </c:pt>
                <c:pt idx="65">
                  <c:v>13.14</c:v>
                </c:pt>
                <c:pt idx="66">
                  <c:v>11.43</c:v>
                </c:pt>
                <c:pt idx="67">
                  <c:v>11.29</c:v>
                </c:pt>
                <c:pt idx="68">
                  <c:v>13.4</c:v>
                </c:pt>
                <c:pt idx="69">
                  <c:v>13.57</c:v>
                </c:pt>
                <c:pt idx="70">
                  <c:v>13.93</c:v>
                </c:pt>
                <c:pt idx="71">
                  <c:v>14.67</c:v>
                </c:pt>
                <c:pt idx="72">
                  <c:v>14.48</c:v>
                </c:pt>
                <c:pt idx="73">
                  <c:v>14.24</c:v>
                </c:pt>
                <c:pt idx="74">
                  <c:v>15.65</c:v>
                </c:pt>
                <c:pt idx="75">
                  <c:v>14.88</c:v>
                </c:pt>
                <c:pt idx="76">
                  <c:v>14.88</c:v>
                </c:pt>
                <c:pt idx="77">
                  <c:v>14.85</c:v>
                </c:pt>
                <c:pt idx="78">
                  <c:v>15.07</c:v>
                </c:pt>
                <c:pt idx="79">
                  <c:v>14.46</c:v>
                </c:pt>
                <c:pt idx="80">
                  <c:v>17.12</c:v>
                </c:pt>
                <c:pt idx="81">
                  <c:v>14.82</c:v>
                </c:pt>
                <c:pt idx="82">
                  <c:v>16.13</c:v>
                </c:pt>
                <c:pt idx="83">
                  <c:v>16.850000000000001</c:v>
                </c:pt>
                <c:pt idx="84">
                  <c:v>15.19</c:v>
                </c:pt>
                <c:pt idx="85">
                  <c:v>13.79</c:v>
                </c:pt>
                <c:pt idx="86">
                  <c:v>17.64</c:v>
                </c:pt>
                <c:pt idx="87">
                  <c:v>16.72</c:v>
                </c:pt>
                <c:pt idx="88">
                  <c:v>19.18</c:v>
                </c:pt>
                <c:pt idx="89">
                  <c:v>18.350000000000001</c:v>
                </c:pt>
                <c:pt idx="90">
                  <c:v>18.8</c:v>
                </c:pt>
                <c:pt idx="91">
                  <c:v>17.91</c:v>
                </c:pt>
                <c:pt idx="92">
                  <c:v>17.57</c:v>
                </c:pt>
                <c:pt idx="93">
                  <c:v>15.97</c:v>
                </c:pt>
                <c:pt idx="94">
                  <c:v>17.96</c:v>
                </c:pt>
                <c:pt idx="95">
                  <c:v>15.1</c:v>
                </c:pt>
                <c:pt idx="96">
                  <c:v>18.57</c:v>
                </c:pt>
                <c:pt idx="97">
                  <c:v>14.91</c:v>
                </c:pt>
                <c:pt idx="98">
                  <c:v>15.01</c:v>
                </c:pt>
                <c:pt idx="99">
                  <c:v>15.15</c:v>
                </c:pt>
                <c:pt idx="100">
                  <c:v>14.26</c:v>
                </c:pt>
                <c:pt idx="101">
                  <c:v>12.92</c:v>
                </c:pt>
                <c:pt idx="102">
                  <c:v>11.74</c:v>
                </c:pt>
                <c:pt idx="103">
                  <c:v>13.85</c:v>
                </c:pt>
                <c:pt idx="104">
                  <c:v>13.1</c:v>
                </c:pt>
                <c:pt idx="105">
                  <c:v>11.62</c:v>
                </c:pt>
                <c:pt idx="106">
                  <c:v>13.05</c:v>
                </c:pt>
                <c:pt idx="107">
                  <c:v>13.71</c:v>
                </c:pt>
                <c:pt idx="108">
                  <c:v>14.39</c:v>
                </c:pt>
                <c:pt idx="109">
                  <c:v>13.49</c:v>
                </c:pt>
                <c:pt idx="110">
                  <c:v>13.81</c:v>
                </c:pt>
                <c:pt idx="111">
                  <c:v>14.08</c:v>
                </c:pt>
                <c:pt idx="112">
                  <c:v>13.22</c:v>
                </c:pt>
                <c:pt idx="113">
                  <c:v>12.12</c:v>
                </c:pt>
                <c:pt idx="114">
                  <c:v>13.53</c:v>
                </c:pt>
                <c:pt idx="115">
                  <c:v>13.28</c:v>
                </c:pt>
                <c:pt idx="116">
                  <c:v>13.55</c:v>
                </c:pt>
                <c:pt idx="117">
                  <c:v>13.94</c:v>
                </c:pt>
                <c:pt idx="118">
                  <c:v>12.34</c:v>
                </c:pt>
                <c:pt idx="119">
                  <c:v>13.4</c:v>
                </c:pt>
                <c:pt idx="120">
                  <c:v>12.28</c:v>
                </c:pt>
                <c:pt idx="121">
                  <c:v>13.71</c:v>
                </c:pt>
                <c:pt idx="122">
                  <c:v>14.04</c:v>
                </c:pt>
                <c:pt idx="123">
                  <c:v>12.72</c:v>
                </c:pt>
                <c:pt idx="124">
                  <c:v>14.82</c:v>
                </c:pt>
                <c:pt idx="125">
                  <c:v>17.78</c:v>
                </c:pt>
                <c:pt idx="126">
                  <c:v>14.11</c:v>
                </c:pt>
                <c:pt idx="127">
                  <c:v>18.399999999999999</c:v>
                </c:pt>
                <c:pt idx="128">
                  <c:v>14.44</c:v>
                </c:pt>
                <c:pt idx="129">
                  <c:v>14.3</c:v>
                </c:pt>
                <c:pt idx="130">
                  <c:v>16.649999999999999</c:v>
                </c:pt>
                <c:pt idx="131">
                  <c:v>17.84</c:v>
                </c:pt>
                <c:pt idx="132">
                  <c:v>15.58</c:v>
                </c:pt>
                <c:pt idx="133">
                  <c:v>17.399999999999999</c:v>
                </c:pt>
                <c:pt idx="134">
                  <c:v>15.17</c:v>
                </c:pt>
                <c:pt idx="135">
                  <c:v>17.2</c:v>
                </c:pt>
                <c:pt idx="136">
                  <c:v>17.309999999999999</c:v>
                </c:pt>
                <c:pt idx="137">
                  <c:v>17.09</c:v>
                </c:pt>
                <c:pt idx="138">
                  <c:v>15.83</c:v>
                </c:pt>
                <c:pt idx="139">
                  <c:v>14.53</c:v>
                </c:pt>
                <c:pt idx="140">
                  <c:v>15.36</c:v>
                </c:pt>
                <c:pt idx="141">
                  <c:v>14.42</c:v>
                </c:pt>
                <c:pt idx="142">
                  <c:v>15.21</c:v>
                </c:pt>
                <c:pt idx="143">
                  <c:v>17.87</c:v>
                </c:pt>
                <c:pt idx="144">
                  <c:v>14.85</c:v>
                </c:pt>
                <c:pt idx="145">
                  <c:v>14.6</c:v>
                </c:pt>
                <c:pt idx="146">
                  <c:v>14.45</c:v>
                </c:pt>
                <c:pt idx="147">
                  <c:v>15.27</c:v>
                </c:pt>
                <c:pt idx="148">
                  <c:v>13.61</c:v>
                </c:pt>
                <c:pt idx="149">
                  <c:v>13.98</c:v>
                </c:pt>
                <c:pt idx="150">
                  <c:v>13.17</c:v>
                </c:pt>
                <c:pt idx="151">
                  <c:v>12.84</c:v>
                </c:pt>
                <c:pt idx="152">
                  <c:v>13.48</c:v>
                </c:pt>
                <c:pt idx="153">
                  <c:v>12.62</c:v>
                </c:pt>
                <c:pt idx="154">
                  <c:v>12.9</c:v>
                </c:pt>
                <c:pt idx="155">
                  <c:v>13.43</c:v>
                </c:pt>
                <c:pt idx="156">
                  <c:v>13.2</c:v>
                </c:pt>
                <c:pt idx="157">
                  <c:v>13.65</c:v>
                </c:pt>
                <c:pt idx="158">
                  <c:v>14.03</c:v>
                </c:pt>
                <c:pt idx="159">
                  <c:v>13.84</c:v>
                </c:pt>
                <c:pt idx="160">
                  <c:v>13.99</c:v>
                </c:pt>
                <c:pt idx="161">
                  <c:v>13.2</c:v>
                </c:pt>
                <c:pt idx="162">
                  <c:v>12.32</c:v>
                </c:pt>
                <c:pt idx="163">
                  <c:v>12.82</c:v>
                </c:pt>
                <c:pt idx="164">
                  <c:v>13.05</c:v>
                </c:pt>
                <c:pt idx="165">
                  <c:v>12.9</c:v>
                </c:pt>
                <c:pt idx="166">
                  <c:v>10.16</c:v>
                </c:pt>
                <c:pt idx="167">
                  <c:v>13.53</c:v>
                </c:pt>
                <c:pt idx="168">
                  <c:v>14.42</c:v>
                </c:pt>
                <c:pt idx="169">
                  <c:v>14.01</c:v>
                </c:pt>
                <c:pt idx="170">
                  <c:v>14.14</c:v>
                </c:pt>
                <c:pt idx="171">
                  <c:v>15.35</c:v>
                </c:pt>
                <c:pt idx="172">
                  <c:v>15.13</c:v>
                </c:pt>
                <c:pt idx="173">
                  <c:v>14.13</c:v>
                </c:pt>
                <c:pt idx="174">
                  <c:v>14.11</c:v>
                </c:pt>
                <c:pt idx="175">
                  <c:v>15.47</c:v>
                </c:pt>
                <c:pt idx="176">
                  <c:v>15.67</c:v>
                </c:pt>
                <c:pt idx="177">
                  <c:v>15.06</c:v>
                </c:pt>
                <c:pt idx="178">
                  <c:v>13.64</c:v>
                </c:pt>
                <c:pt idx="179">
                  <c:v>15.75</c:v>
                </c:pt>
                <c:pt idx="180">
                  <c:v>16.649999999999999</c:v>
                </c:pt>
                <c:pt idx="181">
                  <c:v>15.8</c:v>
                </c:pt>
                <c:pt idx="182">
                  <c:v>16.3</c:v>
                </c:pt>
                <c:pt idx="183">
                  <c:v>15.95</c:v>
                </c:pt>
                <c:pt idx="184">
                  <c:v>16.41</c:v>
                </c:pt>
                <c:pt idx="185">
                  <c:v>16.010000000000002</c:v>
                </c:pt>
                <c:pt idx="186">
                  <c:v>16.2</c:v>
                </c:pt>
                <c:pt idx="187">
                  <c:v>16.14</c:v>
                </c:pt>
                <c:pt idx="188">
                  <c:v>15.91</c:v>
                </c:pt>
                <c:pt idx="189">
                  <c:v>15.37</c:v>
                </c:pt>
                <c:pt idx="190">
                  <c:v>15.45</c:v>
                </c:pt>
                <c:pt idx="191">
                  <c:v>15.29</c:v>
                </c:pt>
                <c:pt idx="192">
                  <c:v>14.76</c:v>
                </c:pt>
                <c:pt idx="193">
                  <c:v>14.73</c:v>
                </c:pt>
                <c:pt idx="194">
                  <c:v>14.46</c:v>
                </c:pt>
                <c:pt idx="195">
                  <c:v>14.25</c:v>
                </c:pt>
                <c:pt idx="196">
                  <c:v>14.05</c:v>
                </c:pt>
                <c:pt idx="197">
                  <c:v>13.82</c:v>
                </c:pt>
                <c:pt idx="198">
                  <c:v>14.09</c:v>
                </c:pt>
                <c:pt idx="199">
                  <c:v>14.83</c:v>
                </c:pt>
                <c:pt idx="200">
                  <c:v>15.44</c:v>
                </c:pt>
                <c:pt idx="201">
                  <c:v>15.49</c:v>
                </c:pt>
                <c:pt idx="202">
                  <c:v>15.54</c:v>
                </c:pt>
                <c:pt idx="203">
                  <c:v>14.54</c:v>
                </c:pt>
                <c:pt idx="204">
                  <c:v>14.84</c:v>
                </c:pt>
                <c:pt idx="205">
                  <c:v>14.59</c:v>
                </c:pt>
                <c:pt idx="206">
                  <c:v>14.33</c:v>
                </c:pt>
                <c:pt idx="207">
                  <c:v>14.07</c:v>
                </c:pt>
                <c:pt idx="208">
                  <c:v>13.89</c:v>
                </c:pt>
                <c:pt idx="209">
                  <c:v>13.54</c:v>
                </c:pt>
                <c:pt idx="210">
                  <c:v>13.25</c:v>
                </c:pt>
                <c:pt idx="211">
                  <c:v>13.56</c:v>
                </c:pt>
                <c:pt idx="212">
                  <c:v>13.51</c:v>
                </c:pt>
                <c:pt idx="213">
                  <c:v>13.84</c:v>
                </c:pt>
                <c:pt idx="214">
                  <c:v>14.78</c:v>
                </c:pt>
                <c:pt idx="215">
                  <c:v>14.45</c:v>
                </c:pt>
                <c:pt idx="216">
                  <c:v>14.42</c:v>
                </c:pt>
                <c:pt idx="217">
                  <c:v>14.76</c:v>
                </c:pt>
                <c:pt idx="218">
                  <c:v>10.31</c:v>
                </c:pt>
                <c:pt idx="219">
                  <c:v>15.95</c:v>
                </c:pt>
                <c:pt idx="220">
                  <c:v>14.75</c:v>
                </c:pt>
                <c:pt idx="221">
                  <c:v>15.62</c:v>
                </c:pt>
                <c:pt idx="222">
                  <c:v>15.61</c:v>
                </c:pt>
                <c:pt idx="223">
                  <c:v>17.12</c:v>
                </c:pt>
                <c:pt idx="224">
                  <c:v>15.14</c:v>
                </c:pt>
                <c:pt idx="225">
                  <c:v>15.87</c:v>
                </c:pt>
                <c:pt idx="226">
                  <c:v>14.81</c:v>
                </c:pt>
                <c:pt idx="227">
                  <c:v>15.81</c:v>
                </c:pt>
                <c:pt idx="228">
                  <c:v>17.010000000000002</c:v>
                </c:pt>
                <c:pt idx="229">
                  <c:v>18.149999999999999</c:v>
                </c:pt>
                <c:pt idx="230">
                  <c:v>15.78</c:v>
                </c:pt>
                <c:pt idx="231">
                  <c:v>15.87</c:v>
                </c:pt>
                <c:pt idx="232">
                  <c:v>16.84</c:v>
                </c:pt>
                <c:pt idx="233">
                  <c:v>18.329999999999998</c:v>
                </c:pt>
                <c:pt idx="234">
                  <c:v>18.260000000000002</c:v>
                </c:pt>
                <c:pt idx="235">
                  <c:v>17.3</c:v>
                </c:pt>
                <c:pt idx="236">
                  <c:v>17.57</c:v>
                </c:pt>
                <c:pt idx="237">
                  <c:v>18.93</c:v>
                </c:pt>
                <c:pt idx="238">
                  <c:v>18.16</c:v>
                </c:pt>
                <c:pt idx="239">
                  <c:v>18.38</c:v>
                </c:pt>
                <c:pt idx="240">
                  <c:v>17.68</c:v>
                </c:pt>
                <c:pt idx="241">
                  <c:v>17.16</c:v>
                </c:pt>
                <c:pt idx="242">
                  <c:v>16.420000000000002</c:v>
                </c:pt>
                <c:pt idx="243">
                  <c:v>16.559999999999999</c:v>
                </c:pt>
                <c:pt idx="244">
                  <c:v>18.670000000000002</c:v>
                </c:pt>
                <c:pt idx="245">
                  <c:v>16.62</c:v>
                </c:pt>
                <c:pt idx="246">
                  <c:v>15.2</c:v>
                </c:pt>
                <c:pt idx="247">
                  <c:v>15.14</c:v>
                </c:pt>
                <c:pt idx="248">
                  <c:v>13.55</c:v>
                </c:pt>
                <c:pt idx="249">
                  <c:v>13.86</c:v>
                </c:pt>
                <c:pt idx="250">
                  <c:v>14.52</c:v>
                </c:pt>
                <c:pt idx="251">
                  <c:v>14.65</c:v>
                </c:pt>
                <c:pt idx="252">
                  <c:v>15.12</c:v>
                </c:pt>
                <c:pt idx="253">
                  <c:v>14.54</c:v>
                </c:pt>
                <c:pt idx="254">
                  <c:v>16.2</c:v>
                </c:pt>
                <c:pt idx="255">
                  <c:v>15.98</c:v>
                </c:pt>
                <c:pt idx="256">
                  <c:v>16.489999999999998</c:v>
                </c:pt>
                <c:pt idx="257">
                  <c:v>16.989999999999998</c:v>
                </c:pt>
                <c:pt idx="258">
                  <c:v>15.35</c:v>
                </c:pt>
                <c:pt idx="259">
                  <c:v>12.88</c:v>
                </c:pt>
                <c:pt idx="260">
                  <c:v>16.12</c:v>
                </c:pt>
                <c:pt idx="261">
                  <c:v>15.94</c:v>
                </c:pt>
                <c:pt idx="262">
                  <c:v>15.69</c:v>
                </c:pt>
                <c:pt idx="263">
                  <c:v>16.09</c:v>
                </c:pt>
                <c:pt idx="264">
                  <c:v>15.2</c:v>
                </c:pt>
                <c:pt idx="265">
                  <c:v>16.670000000000002</c:v>
                </c:pt>
                <c:pt idx="266">
                  <c:v>16.899999999999999</c:v>
                </c:pt>
                <c:pt idx="267">
                  <c:v>15.77</c:v>
                </c:pt>
                <c:pt idx="268">
                  <c:v>16.13</c:v>
                </c:pt>
                <c:pt idx="269">
                  <c:v>17.16</c:v>
                </c:pt>
                <c:pt idx="270">
                  <c:v>17.670000000000002</c:v>
                </c:pt>
                <c:pt idx="271">
                  <c:v>17.52</c:v>
                </c:pt>
                <c:pt idx="272">
                  <c:v>19.96</c:v>
                </c:pt>
                <c:pt idx="273">
                  <c:v>17.43</c:v>
                </c:pt>
                <c:pt idx="274">
                  <c:v>17.64</c:v>
                </c:pt>
                <c:pt idx="275">
                  <c:v>17.399999999999999</c:v>
                </c:pt>
                <c:pt idx="276">
                  <c:v>18.239999999999998</c:v>
                </c:pt>
                <c:pt idx="277">
                  <c:v>17.690000000000001</c:v>
                </c:pt>
                <c:pt idx="278">
                  <c:v>17.440000000000001</c:v>
                </c:pt>
                <c:pt idx="279">
                  <c:v>18.18</c:v>
                </c:pt>
                <c:pt idx="280">
                  <c:v>18.77</c:v>
                </c:pt>
                <c:pt idx="281">
                  <c:v>17.13</c:v>
                </c:pt>
                <c:pt idx="282">
                  <c:v>17.47</c:v>
                </c:pt>
                <c:pt idx="283">
                  <c:v>17.66</c:v>
                </c:pt>
                <c:pt idx="284">
                  <c:v>16.32</c:v>
                </c:pt>
                <c:pt idx="285">
                  <c:v>15.18</c:v>
                </c:pt>
                <c:pt idx="286">
                  <c:v>17.55</c:v>
                </c:pt>
                <c:pt idx="287">
                  <c:v>17.3</c:v>
                </c:pt>
                <c:pt idx="288">
                  <c:v>15.84</c:v>
                </c:pt>
                <c:pt idx="289">
                  <c:v>16.260000000000002</c:v>
                </c:pt>
                <c:pt idx="290">
                  <c:v>15.51</c:v>
                </c:pt>
                <c:pt idx="291">
                  <c:v>16.670000000000002</c:v>
                </c:pt>
                <c:pt idx="292">
                  <c:v>15.83</c:v>
                </c:pt>
                <c:pt idx="293">
                  <c:v>17.12</c:v>
                </c:pt>
                <c:pt idx="294">
                  <c:v>17.62</c:v>
                </c:pt>
                <c:pt idx="295">
                  <c:v>16.760000000000002</c:v>
                </c:pt>
                <c:pt idx="296">
                  <c:v>17.43</c:v>
                </c:pt>
                <c:pt idx="297">
                  <c:v>16.170000000000002</c:v>
                </c:pt>
                <c:pt idx="298">
                  <c:v>17.809999999999999</c:v>
                </c:pt>
                <c:pt idx="299">
                  <c:v>16.54</c:v>
                </c:pt>
                <c:pt idx="300">
                  <c:v>16.649999999999999</c:v>
                </c:pt>
                <c:pt idx="301">
                  <c:v>16.29</c:v>
                </c:pt>
                <c:pt idx="302">
                  <c:v>19.809999999999999</c:v>
                </c:pt>
                <c:pt idx="303">
                  <c:v>16.8</c:v>
                </c:pt>
                <c:pt idx="304">
                  <c:v>15.87</c:v>
                </c:pt>
                <c:pt idx="305">
                  <c:v>15.7</c:v>
                </c:pt>
                <c:pt idx="306">
                  <c:v>16.3</c:v>
                </c:pt>
                <c:pt idx="307">
                  <c:v>16.649999999999999</c:v>
                </c:pt>
                <c:pt idx="308">
                  <c:v>16.95</c:v>
                </c:pt>
                <c:pt idx="309">
                  <c:v>15.9</c:v>
                </c:pt>
                <c:pt idx="310">
                  <c:v>15.59</c:v>
                </c:pt>
                <c:pt idx="311">
                  <c:v>15.61</c:v>
                </c:pt>
                <c:pt idx="312">
                  <c:v>15.8</c:v>
                </c:pt>
                <c:pt idx="313">
                  <c:v>16.309999999999999</c:v>
                </c:pt>
                <c:pt idx="314">
                  <c:v>16.88</c:v>
                </c:pt>
                <c:pt idx="315">
                  <c:v>17.010000000000002</c:v>
                </c:pt>
                <c:pt idx="316">
                  <c:v>18.39</c:v>
                </c:pt>
                <c:pt idx="317">
                  <c:v>15.38</c:v>
                </c:pt>
                <c:pt idx="318">
                  <c:v>16.62</c:v>
                </c:pt>
                <c:pt idx="319">
                  <c:v>18.62</c:v>
                </c:pt>
                <c:pt idx="320">
                  <c:v>16.86</c:v>
                </c:pt>
                <c:pt idx="321">
                  <c:v>21.52</c:v>
                </c:pt>
                <c:pt idx="322">
                  <c:v>17.21</c:v>
                </c:pt>
                <c:pt idx="323">
                  <c:v>18.73</c:v>
                </c:pt>
                <c:pt idx="324">
                  <c:v>18.78</c:v>
                </c:pt>
                <c:pt idx="325">
                  <c:v>18.36</c:v>
                </c:pt>
                <c:pt idx="326">
                  <c:v>18.05</c:v>
                </c:pt>
                <c:pt idx="327">
                  <c:v>18.21</c:v>
                </c:pt>
                <c:pt idx="328">
                  <c:v>19.54</c:v>
                </c:pt>
                <c:pt idx="329">
                  <c:v>18.399999999999999</c:v>
                </c:pt>
                <c:pt idx="330">
                  <c:v>18.91</c:v>
                </c:pt>
                <c:pt idx="331">
                  <c:v>19.100000000000001</c:v>
                </c:pt>
                <c:pt idx="332">
                  <c:v>19.27</c:v>
                </c:pt>
                <c:pt idx="333">
                  <c:v>20.18</c:v>
                </c:pt>
                <c:pt idx="334">
                  <c:v>20.6</c:v>
                </c:pt>
                <c:pt idx="335">
                  <c:v>20.86</c:v>
                </c:pt>
                <c:pt idx="336">
                  <c:v>22.34</c:v>
                </c:pt>
                <c:pt idx="337">
                  <c:v>20.77</c:v>
                </c:pt>
                <c:pt idx="338">
                  <c:v>20.260000000000002</c:v>
                </c:pt>
                <c:pt idx="339">
                  <c:v>21.07</c:v>
                </c:pt>
                <c:pt idx="340">
                  <c:v>21.98</c:v>
                </c:pt>
                <c:pt idx="341">
                  <c:v>23.02</c:v>
                </c:pt>
                <c:pt idx="342">
                  <c:v>22.29</c:v>
                </c:pt>
                <c:pt idx="343">
                  <c:v>18.010000000000002</c:v>
                </c:pt>
                <c:pt idx="344">
                  <c:v>21.61</c:v>
                </c:pt>
                <c:pt idx="345">
                  <c:v>22.07</c:v>
                </c:pt>
                <c:pt idx="346">
                  <c:v>24.07</c:v>
                </c:pt>
                <c:pt idx="347">
                  <c:v>23.17</c:v>
                </c:pt>
                <c:pt idx="348">
                  <c:v>21.54</c:v>
                </c:pt>
                <c:pt idx="349">
                  <c:v>22.75</c:v>
                </c:pt>
                <c:pt idx="350">
                  <c:v>22.41</c:v>
                </c:pt>
                <c:pt idx="351">
                  <c:v>22.56</c:v>
                </c:pt>
                <c:pt idx="352">
                  <c:v>23.64</c:v>
                </c:pt>
                <c:pt idx="353">
                  <c:v>22.49</c:v>
                </c:pt>
                <c:pt idx="354">
                  <c:v>23.09</c:v>
                </c:pt>
                <c:pt idx="355">
                  <c:v>22.96</c:v>
                </c:pt>
                <c:pt idx="356">
                  <c:v>24.86</c:v>
                </c:pt>
                <c:pt idx="357">
                  <c:v>21.96</c:v>
                </c:pt>
                <c:pt idx="358">
                  <c:v>21.98</c:v>
                </c:pt>
                <c:pt idx="359">
                  <c:v>22.85</c:v>
                </c:pt>
                <c:pt idx="360">
                  <c:v>23.85</c:v>
                </c:pt>
                <c:pt idx="361">
                  <c:v>24.91</c:v>
                </c:pt>
                <c:pt idx="362">
                  <c:v>23.75</c:v>
                </c:pt>
                <c:pt idx="363">
                  <c:v>24.94</c:v>
                </c:pt>
                <c:pt idx="364">
                  <c:v>27.24</c:v>
                </c:pt>
                <c:pt idx="365">
                  <c:v>24.59</c:v>
                </c:pt>
                <c:pt idx="366">
                  <c:v>25.38</c:v>
                </c:pt>
                <c:pt idx="367">
                  <c:v>25.18</c:v>
                </c:pt>
                <c:pt idx="368">
                  <c:v>26.98</c:v>
                </c:pt>
                <c:pt idx="369">
                  <c:v>26.66</c:v>
                </c:pt>
                <c:pt idx="370">
                  <c:v>25.58</c:v>
                </c:pt>
                <c:pt idx="371">
                  <c:v>25.03</c:v>
                </c:pt>
                <c:pt idx="372">
                  <c:v>25.91</c:v>
                </c:pt>
                <c:pt idx="373">
                  <c:v>26.76</c:v>
                </c:pt>
                <c:pt idx="374">
                  <c:v>27.53</c:v>
                </c:pt>
                <c:pt idx="375">
                  <c:v>27.71</c:v>
                </c:pt>
                <c:pt idx="376">
                  <c:v>27.59</c:v>
                </c:pt>
                <c:pt idx="377">
                  <c:v>28.12</c:v>
                </c:pt>
                <c:pt idx="378">
                  <c:v>28.54</c:v>
                </c:pt>
                <c:pt idx="379">
                  <c:v>29.13</c:v>
                </c:pt>
                <c:pt idx="380">
                  <c:v>29.12</c:v>
                </c:pt>
                <c:pt idx="381">
                  <c:v>31.48</c:v>
                </c:pt>
                <c:pt idx="382">
                  <c:v>31.72</c:v>
                </c:pt>
                <c:pt idx="383">
                  <c:v>30.46</c:v>
                </c:pt>
                <c:pt idx="384">
                  <c:v>29.57</c:v>
                </c:pt>
                <c:pt idx="385">
                  <c:v>31.27</c:v>
                </c:pt>
                <c:pt idx="386">
                  <c:v>30.79</c:v>
                </c:pt>
                <c:pt idx="387">
                  <c:v>30.69</c:v>
                </c:pt>
                <c:pt idx="388">
                  <c:v>29.18</c:v>
                </c:pt>
                <c:pt idx="389">
                  <c:v>30.63</c:v>
                </c:pt>
                <c:pt idx="390">
                  <c:v>31.27</c:v>
                </c:pt>
                <c:pt idx="391">
                  <c:v>29.55</c:v>
                </c:pt>
                <c:pt idx="392">
                  <c:v>28.83</c:v>
                </c:pt>
                <c:pt idx="393">
                  <c:v>29.3</c:v>
                </c:pt>
                <c:pt idx="394">
                  <c:v>29.2</c:v>
                </c:pt>
                <c:pt idx="395">
                  <c:v>27.97</c:v>
                </c:pt>
                <c:pt idx="396">
                  <c:v>27.51</c:v>
                </c:pt>
                <c:pt idx="397">
                  <c:v>27.7</c:v>
                </c:pt>
                <c:pt idx="398">
                  <c:v>26.76</c:v>
                </c:pt>
                <c:pt idx="399">
                  <c:v>27.83</c:v>
                </c:pt>
                <c:pt idx="400">
                  <c:v>26.73</c:v>
                </c:pt>
                <c:pt idx="401">
                  <c:v>25.21</c:v>
                </c:pt>
                <c:pt idx="402">
                  <c:v>25.96</c:v>
                </c:pt>
                <c:pt idx="403">
                  <c:v>26.48</c:v>
                </c:pt>
                <c:pt idx="404">
                  <c:v>27.21</c:v>
                </c:pt>
                <c:pt idx="405">
                  <c:v>26.85</c:v>
                </c:pt>
                <c:pt idx="406">
                  <c:v>25.86</c:v>
                </c:pt>
                <c:pt idx="407">
                  <c:v>30.43</c:v>
                </c:pt>
                <c:pt idx="408">
                  <c:v>25.66</c:v>
                </c:pt>
                <c:pt idx="409">
                  <c:v>25.57</c:v>
                </c:pt>
                <c:pt idx="410">
                  <c:v>25.98</c:v>
                </c:pt>
                <c:pt idx="411">
                  <c:v>26.75</c:v>
                </c:pt>
                <c:pt idx="412">
                  <c:v>25.36</c:v>
                </c:pt>
                <c:pt idx="413">
                  <c:v>26.19</c:v>
                </c:pt>
                <c:pt idx="414">
                  <c:v>24.31</c:v>
                </c:pt>
                <c:pt idx="415">
                  <c:v>25.68</c:v>
                </c:pt>
                <c:pt idx="416">
                  <c:v>26.57</c:v>
                </c:pt>
                <c:pt idx="417">
                  <c:v>25.15</c:v>
                </c:pt>
                <c:pt idx="418">
                  <c:v>28.52</c:v>
                </c:pt>
                <c:pt idx="419">
                  <c:v>30.66</c:v>
                </c:pt>
                <c:pt idx="420">
                  <c:v>27.43</c:v>
                </c:pt>
                <c:pt idx="421">
                  <c:v>29.69</c:v>
                </c:pt>
                <c:pt idx="422">
                  <c:v>27.74</c:v>
                </c:pt>
                <c:pt idx="423">
                  <c:v>28.58</c:v>
                </c:pt>
                <c:pt idx="424">
                  <c:v>29.16</c:v>
                </c:pt>
                <c:pt idx="425">
                  <c:v>27.77</c:v>
                </c:pt>
                <c:pt idx="426">
                  <c:v>28.03</c:v>
                </c:pt>
                <c:pt idx="427">
                  <c:v>27.04</c:v>
                </c:pt>
                <c:pt idx="428">
                  <c:v>28.78</c:v>
                </c:pt>
                <c:pt idx="429">
                  <c:v>27.6</c:v>
                </c:pt>
                <c:pt idx="430">
                  <c:v>27.97</c:v>
                </c:pt>
                <c:pt idx="431">
                  <c:v>27.54</c:v>
                </c:pt>
                <c:pt idx="432">
                  <c:v>28.7</c:v>
                </c:pt>
                <c:pt idx="433">
                  <c:v>26.2</c:v>
                </c:pt>
                <c:pt idx="434">
                  <c:v>26.98</c:v>
                </c:pt>
                <c:pt idx="435">
                  <c:v>27.84</c:v>
                </c:pt>
                <c:pt idx="436">
                  <c:v>28.32</c:v>
                </c:pt>
                <c:pt idx="437">
                  <c:v>29.68</c:v>
                </c:pt>
                <c:pt idx="439">
                  <c:v>27.13</c:v>
                </c:pt>
                <c:pt idx="440">
                  <c:v>24.5</c:v>
                </c:pt>
                <c:pt idx="441">
                  <c:v>24.04</c:v>
                </c:pt>
                <c:pt idx="442">
                  <c:v>25.08</c:v>
                </c:pt>
                <c:pt idx="443">
                  <c:v>25.31</c:v>
                </c:pt>
                <c:pt idx="444">
                  <c:v>34.909999999999997</c:v>
                </c:pt>
                <c:pt idx="445">
                  <c:v>26.35</c:v>
                </c:pt>
                <c:pt idx="446">
                  <c:v>25.78</c:v>
                </c:pt>
                <c:pt idx="447">
                  <c:v>25.01</c:v>
                </c:pt>
                <c:pt idx="448">
                  <c:v>26.28</c:v>
                </c:pt>
                <c:pt idx="449">
                  <c:v>24.13</c:v>
                </c:pt>
                <c:pt idx="450">
                  <c:v>22.83</c:v>
                </c:pt>
                <c:pt idx="451">
                  <c:v>24.35</c:v>
                </c:pt>
                <c:pt idx="452">
                  <c:v>25.18</c:v>
                </c:pt>
                <c:pt idx="453">
                  <c:v>24.19</c:v>
                </c:pt>
                <c:pt idx="454">
                  <c:v>23.65</c:v>
                </c:pt>
                <c:pt idx="455">
                  <c:v>23.76</c:v>
                </c:pt>
                <c:pt idx="456">
                  <c:v>24.38</c:v>
                </c:pt>
                <c:pt idx="457">
                  <c:v>22.8</c:v>
                </c:pt>
                <c:pt idx="458">
                  <c:v>23.93</c:v>
                </c:pt>
                <c:pt idx="459">
                  <c:v>23.67</c:v>
                </c:pt>
                <c:pt idx="460">
                  <c:v>22.06</c:v>
                </c:pt>
                <c:pt idx="461">
                  <c:v>22.81</c:v>
                </c:pt>
                <c:pt idx="462">
                  <c:v>23.03</c:v>
                </c:pt>
                <c:pt idx="463">
                  <c:v>22.21</c:v>
                </c:pt>
                <c:pt idx="464">
                  <c:v>24.42</c:v>
                </c:pt>
                <c:pt idx="465">
                  <c:v>23.98</c:v>
                </c:pt>
                <c:pt idx="466">
                  <c:v>25.07</c:v>
                </c:pt>
                <c:pt idx="467">
                  <c:v>24.87</c:v>
                </c:pt>
                <c:pt idx="468">
                  <c:v>25.39</c:v>
                </c:pt>
                <c:pt idx="469">
                  <c:v>25.25</c:v>
                </c:pt>
                <c:pt idx="470">
                  <c:v>25.4</c:v>
                </c:pt>
                <c:pt idx="471">
                  <c:v>24.83</c:v>
                </c:pt>
                <c:pt idx="472">
                  <c:v>26.32</c:v>
                </c:pt>
                <c:pt idx="473">
                  <c:v>25.71</c:v>
                </c:pt>
                <c:pt idx="474">
                  <c:v>26.03</c:v>
                </c:pt>
                <c:pt idx="475">
                  <c:v>25.49</c:v>
                </c:pt>
                <c:pt idx="476">
                  <c:v>26.23</c:v>
                </c:pt>
                <c:pt idx="477">
                  <c:v>25.19</c:v>
                </c:pt>
                <c:pt idx="478">
                  <c:v>25.45</c:v>
                </c:pt>
                <c:pt idx="479">
                  <c:v>26.32</c:v>
                </c:pt>
                <c:pt idx="480">
                  <c:v>26.13</c:v>
                </c:pt>
                <c:pt idx="481">
                  <c:v>26.54</c:v>
                </c:pt>
                <c:pt idx="482">
                  <c:v>25.01</c:v>
                </c:pt>
                <c:pt idx="483">
                  <c:v>24.26</c:v>
                </c:pt>
                <c:pt idx="495">
                  <c:v>27.64</c:v>
                </c:pt>
                <c:pt idx="496">
                  <c:v>25.87</c:v>
                </c:pt>
                <c:pt idx="497">
                  <c:v>25.65</c:v>
                </c:pt>
                <c:pt idx="498">
                  <c:v>21.08</c:v>
                </c:pt>
                <c:pt idx="499">
                  <c:v>24.71</c:v>
                </c:pt>
                <c:pt idx="500">
                  <c:v>23.08</c:v>
                </c:pt>
                <c:pt idx="501">
                  <c:v>25.14</c:v>
                </c:pt>
                <c:pt idx="502">
                  <c:v>25.38</c:v>
                </c:pt>
                <c:pt idx="503">
                  <c:v>22.15</c:v>
                </c:pt>
                <c:pt idx="504">
                  <c:v>22.79</c:v>
                </c:pt>
                <c:pt idx="505">
                  <c:v>22.26</c:v>
                </c:pt>
                <c:pt idx="506">
                  <c:v>22.53</c:v>
                </c:pt>
                <c:pt idx="507">
                  <c:v>23.59</c:v>
                </c:pt>
                <c:pt idx="508">
                  <c:v>22.99</c:v>
                </c:pt>
                <c:pt idx="509">
                  <c:v>22.51</c:v>
                </c:pt>
                <c:pt idx="510">
                  <c:v>25.1</c:v>
                </c:pt>
                <c:pt idx="511">
                  <c:v>22.46</c:v>
                </c:pt>
                <c:pt idx="512">
                  <c:v>22.81</c:v>
                </c:pt>
                <c:pt idx="513">
                  <c:v>23.22</c:v>
                </c:pt>
                <c:pt idx="514">
                  <c:v>23.41</c:v>
                </c:pt>
                <c:pt idx="515">
                  <c:v>22.79</c:v>
                </c:pt>
                <c:pt idx="516">
                  <c:v>24.13</c:v>
                </c:pt>
                <c:pt idx="517">
                  <c:v>22.45</c:v>
                </c:pt>
                <c:pt idx="518">
                  <c:v>23.32</c:v>
                </c:pt>
                <c:pt idx="519">
                  <c:v>23.44</c:v>
                </c:pt>
                <c:pt idx="520">
                  <c:v>25.74</c:v>
                </c:pt>
                <c:pt idx="521">
                  <c:v>25.51</c:v>
                </c:pt>
                <c:pt idx="522">
                  <c:v>25.84</c:v>
                </c:pt>
                <c:pt idx="523">
                  <c:v>25.11</c:v>
                </c:pt>
                <c:pt idx="524">
                  <c:v>24.57</c:v>
                </c:pt>
                <c:pt idx="525">
                  <c:v>25.26</c:v>
                </c:pt>
                <c:pt idx="526">
                  <c:v>27.11</c:v>
                </c:pt>
                <c:pt idx="527">
                  <c:v>28.47</c:v>
                </c:pt>
                <c:pt idx="528">
                  <c:v>27.37</c:v>
                </c:pt>
                <c:pt idx="529">
                  <c:v>27.27</c:v>
                </c:pt>
                <c:pt idx="530">
                  <c:v>29.92</c:v>
                </c:pt>
                <c:pt idx="531">
                  <c:v>28.62</c:v>
                </c:pt>
                <c:pt idx="532">
                  <c:v>28.66</c:v>
                </c:pt>
                <c:pt idx="533">
                  <c:v>30.42</c:v>
                </c:pt>
                <c:pt idx="534">
                  <c:v>26.99</c:v>
                </c:pt>
                <c:pt idx="535">
                  <c:v>29.52</c:v>
                </c:pt>
                <c:pt idx="536">
                  <c:v>27.35</c:v>
                </c:pt>
                <c:pt idx="537">
                  <c:v>27.79</c:v>
                </c:pt>
                <c:pt idx="538">
                  <c:v>28.75</c:v>
                </c:pt>
                <c:pt idx="539">
                  <c:v>29.7</c:v>
                </c:pt>
                <c:pt idx="540">
                  <c:v>28</c:v>
                </c:pt>
                <c:pt idx="541">
                  <c:v>29.16</c:v>
                </c:pt>
                <c:pt idx="542">
                  <c:v>29.15</c:v>
                </c:pt>
                <c:pt idx="543">
                  <c:v>29.26</c:v>
                </c:pt>
                <c:pt idx="544">
                  <c:v>28.48</c:v>
                </c:pt>
                <c:pt idx="545">
                  <c:v>28.42</c:v>
                </c:pt>
                <c:pt idx="546">
                  <c:v>27.81</c:v>
                </c:pt>
                <c:pt idx="547">
                  <c:v>27.94</c:v>
                </c:pt>
                <c:pt idx="548">
                  <c:v>28</c:v>
                </c:pt>
                <c:pt idx="549">
                  <c:v>27.92</c:v>
                </c:pt>
                <c:pt idx="550">
                  <c:v>27.23</c:v>
                </c:pt>
                <c:pt idx="551">
                  <c:v>27.06</c:v>
                </c:pt>
                <c:pt idx="552">
                  <c:v>27.99</c:v>
                </c:pt>
                <c:pt idx="553">
                  <c:v>27.47</c:v>
                </c:pt>
                <c:pt idx="554">
                  <c:v>28.33</c:v>
                </c:pt>
                <c:pt idx="555">
                  <c:v>28.44</c:v>
                </c:pt>
                <c:pt idx="556">
                  <c:v>30.13</c:v>
                </c:pt>
                <c:pt idx="557">
                  <c:v>28.58</c:v>
                </c:pt>
                <c:pt idx="558">
                  <c:v>27.89</c:v>
                </c:pt>
                <c:pt idx="559">
                  <c:v>29.07</c:v>
                </c:pt>
                <c:pt idx="560">
                  <c:v>29.02</c:v>
                </c:pt>
                <c:pt idx="563">
                  <c:v>32.4</c:v>
                </c:pt>
                <c:pt idx="564">
                  <c:v>28.6</c:v>
                </c:pt>
                <c:pt idx="565">
                  <c:v>29.48</c:v>
                </c:pt>
                <c:pt idx="566">
                  <c:v>28.55</c:v>
                </c:pt>
                <c:pt idx="567">
                  <c:v>29.22</c:v>
                </c:pt>
                <c:pt idx="568">
                  <c:v>31.18</c:v>
                </c:pt>
                <c:pt idx="569">
                  <c:v>29.76</c:v>
                </c:pt>
                <c:pt idx="570">
                  <c:v>29.62</c:v>
                </c:pt>
                <c:pt idx="571">
                  <c:v>31.43</c:v>
                </c:pt>
                <c:pt idx="572">
                  <c:v>29.92</c:v>
                </c:pt>
                <c:pt idx="573">
                  <c:v>30.85</c:v>
                </c:pt>
                <c:pt idx="574">
                  <c:v>31.32</c:v>
                </c:pt>
                <c:pt idx="575">
                  <c:v>31.82</c:v>
                </c:pt>
                <c:pt idx="576">
                  <c:v>34.340000000000003</c:v>
                </c:pt>
                <c:pt idx="577">
                  <c:v>31.91</c:v>
                </c:pt>
                <c:pt idx="578">
                  <c:v>34.19</c:v>
                </c:pt>
                <c:pt idx="579">
                  <c:v>33.950000000000003</c:v>
                </c:pt>
                <c:pt idx="580">
                  <c:v>33.270000000000003</c:v>
                </c:pt>
                <c:pt idx="581">
                  <c:v>32.590000000000003</c:v>
                </c:pt>
                <c:pt idx="582">
                  <c:v>32.92</c:v>
                </c:pt>
                <c:pt idx="583">
                  <c:v>33.21</c:v>
                </c:pt>
                <c:pt idx="584">
                  <c:v>31.27</c:v>
                </c:pt>
                <c:pt idx="585">
                  <c:v>33.21</c:v>
                </c:pt>
                <c:pt idx="586">
                  <c:v>33.159999999999997</c:v>
                </c:pt>
                <c:pt idx="587">
                  <c:v>33.020000000000003</c:v>
                </c:pt>
                <c:pt idx="588">
                  <c:v>34</c:v>
                </c:pt>
                <c:pt idx="589">
                  <c:v>32.43</c:v>
                </c:pt>
                <c:pt idx="590">
                  <c:v>32.049999999999997</c:v>
                </c:pt>
                <c:pt idx="591">
                  <c:v>33.08</c:v>
                </c:pt>
                <c:pt idx="592">
                  <c:v>32.6</c:v>
                </c:pt>
                <c:pt idx="593">
                  <c:v>33.29</c:v>
                </c:pt>
                <c:pt idx="594">
                  <c:v>31.53</c:v>
                </c:pt>
                <c:pt idx="595">
                  <c:v>29.92</c:v>
                </c:pt>
                <c:pt idx="596">
                  <c:v>30.47</c:v>
                </c:pt>
                <c:pt idx="597">
                  <c:v>30.59</c:v>
                </c:pt>
                <c:pt idx="598">
                  <c:v>30.16</c:v>
                </c:pt>
                <c:pt idx="599">
                  <c:v>29.54</c:v>
                </c:pt>
                <c:pt idx="600">
                  <c:v>31.12</c:v>
                </c:pt>
                <c:pt idx="601">
                  <c:v>30.95</c:v>
                </c:pt>
                <c:pt idx="602">
                  <c:v>30.59</c:v>
                </c:pt>
                <c:pt idx="603">
                  <c:v>30.31</c:v>
                </c:pt>
                <c:pt idx="604">
                  <c:v>30.89</c:v>
                </c:pt>
                <c:pt idx="605">
                  <c:v>30.6</c:v>
                </c:pt>
                <c:pt idx="606">
                  <c:v>31.41</c:v>
                </c:pt>
                <c:pt idx="607">
                  <c:v>31.45</c:v>
                </c:pt>
                <c:pt idx="608">
                  <c:v>31.3</c:v>
                </c:pt>
                <c:pt idx="609">
                  <c:v>31.67</c:v>
                </c:pt>
                <c:pt idx="610">
                  <c:v>31.98</c:v>
                </c:pt>
                <c:pt idx="611">
                  <c:v>30.97</c:v>
                </c:pt>
                <c:pt idx="612">
                  <c:v>31.12</c:v>
                </c:pt>
                <c:pt idx="613">
                  <c:v>32.119999999999997</c:v>
                </c:pt>
                <c:pt idx="614">
                  <c:v>31.26</c:v>
                </c:pt>
                <c:pt idx="615">
                  <c:v>29.65</c:v>
                </c:pt>
                <c:pt idx="620">
                  <c:v>32.18</c:v>
                </c:pt>
                <c:pt idx="621">
                  <c:v>33.57</c:v>
                </c:pt>
                <c:pt idx="622">
                  <c:v>32.85</c:v>
                </c:pt>
                <c:pt idx="623">
                  <c:v>33.619999999999997</c:v>
                </c:pt>
                <c:pt idx="624">
                  <c:v>32.32</c:v>
                </c:pt>
                <c:pt idx="625">
                  <c:v>33.18</c:v>
                </c:pt>
                <c:pt idx="626">
                  <c:v>31.51</c:v>
                </c:pt>
                <c:pt idx="627">
                  <c:v>32.78</c:v>
                </c:pt>
                <c:pt idx="628">
                  <c:v>32.479999999999997</c:v>
                </c:pt>
                <c:pt idx="629">
                  <c:v>31.41</c:v>
                </c:pt>
                <c:pt idx="630">
                  <c:v>33.26</c:v>
                </c:pt>
                <c:pt idx="631">
                  <c:v>32.83</c:v>
                </c:pt>
                <c:pt idx="632">
                  <c:v>32.880000000000003</c:v>
                </c:pt>
                <c:pt idx="633">
                  <c:v>33.380000000000003</c:v>
                </c:pt>
                <c:pt idx="634">
                  <c:v>32.81</c:v>
                </c:pt>
                <c:pt idx="635">
                  <c:v>31.56</c:v>
                </c:pt>
                <c:pt idx="636">
                  <c:v>32.590000000000003</c:v>
                </c:pt>
                <c:pt idx="637">
                  <c:v>31.27</c:v>
                </c:pt>
                <c:pt idx="638">
                  <c:v>30.08</c:v>
                </c:pt>
                <c:pt idx="639">
                  <c:v>30.17</c:v>
                </c:pt>
                <c:pt idx="640">
                  <c:v>28.87</c:v>
                </c:pt>
                <c:pt idx="641">
                  <c:v>27.26</c:v>
                </c:pt>
                <c:pt idx="642">
                  <c:v>30</c:v>
                </c:pt>
                <c:pt idx="643">
                  <c:v>29.24</c:v>
                </c:pt>
                <c:pt idx="644">
                  <c:v>29.64</c:v>
                </c:pt>
                <c:pt idx="645">
                  <c:v>28.51</c:v>
                </c:pt>
                <c:pt idx="646">
                  <c:v>29.41</c:v>
                </c:pt>
                <c:pt idx="647">
                  <c:v>27.39</c:v>
                </c:pt>
                <c:pt idx="648">
                  <c:v>28.02</c:v>
                </c:pt>
                <c:pt idx="649">
                  <c:v>27.89</c:v>
                </c:pt>
                <c:pt idx="650">
                  <c:v>26.77</c:v>
                </c:pt>
                <c:pt idx="651">
                  <c:v>25.91</c:v>
                </c:pt>
                <c:pt idx="652">
                  <c:v>26.31</c:v>
                </c:pt>
                <c:pt idx="653">
                  <c:v>25.72</c:v>
                </c:pt>
                <c:pt idx="654">
                  <c:v>27.32</c:v>
                </c:pt>
                <c:pt idx="655">
                  <c:v>25.58</c:v>
                </c:pt>
                <c:pt idx="656">
                  <c:v>29.15</c:v>
                </c:pt>
                <c:pt idx="657">
                  <c:v>27.12</c:v>
                </c:pt>
                <c:pt idx="658">
                  <c:v>27.37</c:v>
                </c:pt>
                <c:pt idx="659">
                  <c:v>28.62</c:v>
                </c:pt>
                <c:pt idx="660">
                  <c:v>27.58</c:v>
                </c:pt>
                <c:pt idx="661">
                  <c:v>27.45</c:v>
                </c:pt>
                <c:pt idx="662">
                  <c:v>32.590000000000003</c:v>
                </c:pt>
                <c:pt idx="663">
                  <c:v>29.62</c:v>
                </c:pt>
                <c:pt idx="664">
                  <c:v>28.28</c:v>
                </c:pt>
                <c:pt idx="665">
                  <c:v>29</c:v>
                </c:pt>
                <c:pt idx="666">
                  <c:v>30.71</c:v>
                </c:pt>
                <c:pt idx="667">
                  <c:v>28.51</c:v>
                </c:pt>
                <c:pt idx="668">
                  <c:v>29.34</c:v>
                </c:pt>
                <c:pt idx="669">
                  <c:v>29.85</c:v>
                </c:pt>
                <c:pt idx="670">
                  <c:v>29.04</c:v>
                </c:pt>
                <c:pt idx="671">
                  <c:v>30.96</c:v>
                </c:pt>
                <c:pt idx="672">
                  <c:v>29.95</c:v>
                </c:pt>
                <c:pt idx="673">
                  <c:v>29.61</c:v>
                </c:pt>
                <c:pt idx="674">
                  <c:v>31.61</c:v>
                </c:pt>
                <c:pt idx="675">
                  <c:v>30.42</c:v>
                </c:pt>
                <c:pt idx="676">
                  <c:v>30.27</c:v>
                </c:pt>
                <c:pt idx="677">
                  <c:v>30.18</c:v>
                </c:pt>
                <c:pt idx="678">
                  <c:v>29.74</c:v>
                </c:pt>
                <c:pt idx="679">
                  <c:v>30.25</c:v>
                </c:pt>
                <c:pt idx="680">
                  <c:v>30.54</c:v>
                </c:pt>
                <c:pt idx="681">
                  <c:v>31.1</c:v>
                </c:pt>
                <c:pt idx="682">
                  <c:v>29.69</c:v>
                </c:pt>
                <c:pt idx="683">
                  <c:v>33.39</c:v>
                </c:pt>
                <c:pt idx="684">
                  <c:v>37.21</c:v>
                </c:pt>
                <c:pt idx="685">
                  <c:v>31.56</c:v>
                </c:pt>
                <c:pt idx="686">
                  <c:v>29.87</c:v>
                </c:pt>
                <c:pt idx="687">
                  <c:v>29.81</c:v>
                </c:pt>
                <c:pt idx="688">
                  <c:v>30.23</c:v>
                </c:pt>
                <c:pt idx="689">
                  <c:v>29.94</c:v>
                </c:pt>
                <c:pt idx="690">
                  <c:v>29.55</c:v>
                </c:pt>
                <c:pt idx="691">
                  <c:v>28.74</c:v>
                </c:pt>
                <c:pt idx="692">
                  <c:v>28.64</c:v>
                </c:pt>
                <c:pt idx="693">
                  <c:v>26.12</c:v>
                </c:pt>
                <c:pt idx="694">
                  <c:v>26.01</c:v>
                </c:pt>
                <c:pt idx="695">
                  <c:v>25.66</c:v>
                </c:pt>
                <c:pt idx="696">
                  <c:v>23.98</c:v>
                </c:pt>
                <c:pt idx="697">
                  <c:v>24.64</c:v>
                </c:pt>
                <c:pt idx="698">
                  <c:v>24.2</c:v>
                </c:pt>
                <c:pt idx="699">
                  <c:v>24.65</c:v>
                </c:pt>
                <c:pt idx="700">
                  <c:v>27.69</c:v>
                </c:pt>
                <c:pt idx="701">
                  <c:v>25.92</c:v>
                </c:pt>
                <c:pt idx="702">
                  <c:v>27.12</c:v>
                </c:pt>
                <c:pt idx="703">
                  <c:v>27.49</c:v>
                </c:pt>
                <c:pt idx="704">
                  <c:v>26.51</c:v>
                </c:pt>
                <c:pt idx="705">
                  <c:v>25.5</c:v>
                </c:pt>
                <c:pt idx="706">
                  <c:v>27.52</c:v>
                </c:pt>
                <c:pt idx="707">
                  <c:v>25.72</c:v>
                </c:pt>
                <c:pt idx="708">
                  <c:v>24.45</c:v>
                </c:pt>
                <c:pt idx="709">
                  <c:v>26.62</c:v>
                </c:pt>
                <c:pt idx="710">
                  <c:v>26.26</c:v>
                </c:pt>
                <c:pt idx="711">
                  <c:v>28.19</c:v>
                </c:pt>
                <c:pt idx="712">
                  <c:v>27.7</c:v>
                </c:pt>
                <c:pt idx="713">
                  <c:v>26.89</c:v>
                </c:pt>
                <c:pt idx="714">
                  <c:v>27.86</c:v>
                </c:pt>
                <c:pt idx="715">
                  <c:v>29.06</c:v>
                </c:pt>
                <c:pt idx="716">
                  <c:v>28.4</c:v>
                </c:pt>
                <c:pt idx="717">
                  <c:v>29.27</c:v>
                </c:pt>
                <c:pt idx="718">
                  <c:v>28.25</c:v>
                </c:pt>
                <c:pt idx="719">
                  <c:v>24.76</c:v>
                </c:pt>
                <c:pt idx="720">
                  <c:v>28.22</c:v>
                </c:pt>
                <c:pt idx="721">
                  <c:v>28.68</c:v>
                </c:pt>
                <c:pt idx="722">
                  <c:v>30.33</c:v>
                </c:pt>
                <c:pt idx="723">
                  <c:v>27.31</c:v>
                </c:pt>
                <c:pt idx="724">
                  <c:v>27.57</c:v>
                </c:pt>
                <c:pt idx="725">
                  <c:v>29.25</c:v>
                </c:pt>
                <c:pt idx="726">
                  <c:v>29.84</c:v>
                </c:pt>
                <c:pt idx="727">
                  <c:v>30.33</c:v>
                </c:pt>
                <c:pt idx="728">
                  <c:v>30.8</c:v>
                </c:pt>
                <c:pt idx="729">
                  <c:v>30.23</c:v>
                </c:pt>
                <c:pt idx="730">
                  <c:v>30.46</c:v>
                </c:pt>
                <c:pt idx="731">
                  <c:v>31.69</c:v>
                </c:pt>
                <c:pt idx="732">
                  <c:v>31.96</c:v>
                </c:pt>
                <c:pt idx="733">
                  <c:v>30.37</c:v>
                </c:pt>
                <c:pt idx="734">
                  <c:v>30.77</c:v>
                </c:pt>
                <c:pt idx="735">
                  <c:v>31.14</c:v>
                </c:pt>
                <c:pt idx="736">
                  <c:v>31.46</c:v>
                </c:pt>
                <c:pt idx="737">
                  <c:v>28.65</c:v>
                </c:pt>
                <c:pt idx="738">
                  <c:v>27.94</c:v>
                </c:pt>
                <c:pt idx="739">
                  <c:v>27.2</c:v>
                </c:pt>
                <c:pt idx="740">
                  <c:v>26.32</c:v>
                </c:pt>
                <c:pt idx="741">
                  <c:v>28.35</c:v>
                </c:pt>
                <c:pt idx="742">
                  <c:v>26.28</c:v>
                </c:pt>
                <c:pt idx="743">
                  <c:v>26.56</c:v>
                </c:pt>
                <c:pt idx="744">
                  <c:v>26.63</c:v>
                </c:pt>
                <c:pt idx="745">
                  <c:v>28.95</c:v>
                </c:pt>
                <c:pt idx="746">
                  <c:v>27.55</c:v>
                </c:pt>
                <c:pt idx="747">
                  <c:v>27.5</c:v>
                </c:pt>
                <c:pt idx="748">
                  <c:v>28.55</c:v>
                </c:pt>
                <c:pt idx="749">
                  <c:v>29.41</c:v>
                </c:pt>
                <c:pt idx="750">
                  <c:v>28.14</c:v>
                </c:pt>
                <c:pt idx="751">
                  <c:v>30.57</c:v>
                </c:pt>
                <c:pt idx="752">
                  <c:v>30.37</c:v>
                </c:pt>
                <c:pt idx="753">
                  <c:v>30.42</c:v>
                </c:pt>
                <c:pt idx="754">
                  <c:v>30.19</c:v>
                </c:pt>
                <c:pt idx="755">
                  <c:v>32.770000000000003</c:v>
                </c:pt>
                <c:pt idx="756">
                  <c:v>34.04</c:v>
                </c:pt>
                <c:pt idx="757">
                  <c:v>31.81</c:v>
                </c:pt>
                <c:pt idx="758">
                  <c:v>31.99</c:v>
                </c:pt>
                <c:pt idx="759">
                  <c:v>29.84</c:v>
                </c:pt>
                <c:pt idx="760">
                  <c:v>30.31</c:v>
                </c:pt>
                <c:pt idx="761">
                  <c:v>29.78</c:v>
                </c:pt>
                <c:pt idx="762">
                  <c:v>31.17</c:v>
                </c:pt>
                <c:pt idx="763">
                  <c:v>31.79</c:v>
                </c:pt>
                <c:pt idx="764">
                  <c:v>32.159999999999997</c:v>
                </c:pt>
                <c:pt idx="765">
                  <c:v>32.29</c:v>
                </c:pt>
                <c:pt idx="766">
                  <c:v>31.81</c:v>
                </c:pt>
                <c:pt idx="767">
                  <c:v>33.65</c:v>
                </c:pt>
                <c:pt idx="768">
                  <c:v>32.6</c:v>
                </c:pt>
                <c:pt idx="769">
                  <c:v>34.71</c:v>
                </c:pt>
                <c:pt idx="770">
                  <c:v>32.82</c:v>
                </c:pt>
                <c:pt idx="771">
                  <c:v>32.71</c:v>
                </c:pt>
                <c:pt idx="773">
                  <c:v>34.22</c:v>
                </c:pt>
                <c:pt idx="774">
                  <c:v>36.700000000000003</c:v>
                </c:pt>
                <c:pt idx="775">
                  <c:v>35.909999999999997</c:v>
                </c:pt>
                <c:pt idx="776">
                  <c:v>37.9</c:v>
                </c:pt>
                <c:pt idx="777">
                  <c:v>36.57</c:v>
                </c:pt>
                <c:pt idx="778">
                  <c:v>36.409999999999997</c:v>
                </c:pt>
                <c:pt idx="779">
                  <c:v>38.409999999999997</c:v>
                </c:pt>
                <c:pt idx="780">
                  <c:v>37.57</c:v>
                </c:pt>
                <c:pt idx="781">
                  <c:v>34.35</c:v>
                </c:pt>
                <c:pt idx="782">
                  <c:v>35</c:v>
                </c:pt>
                <c:pt idx="783">
                  <c:v>28.24</c:v>
                </c:pt>
                <c:pt idx="784">
                  <c:v>31.78</c:v>
                </c:pt>
                <c:pt idx="785">
                  <c:v>33.26</c:v>
                </c:pt>
                <c:pt idx="786">
                  <c:v>35.29</c:v>
                </c:pt>
                <c:pt idx="787">
                  <c:v>33.29</c:v>
                </c:pt>
                <c:pt idx="788">
                  <c:v>31.44</c:v>
                </c:pt>
                <c:pt idx="789">
                  <c:v>34</c:v>
                </c:pt>
                <c:pt idx="790">
                  <c:v>31.06</c:v>
                </c:pt>
                <c:pt idx="791">
                  <c:v>32.119999999999997</c:v>
                </c:pt>
                <c:pt idx="792">
                  <c:v>33.840000000000003</c:v>
                </c:pt>
                <c:pt idx="793">
                  <c:v>33.979999999999997</c:v>
                </c:pt>
                <c:pt idx="794">
                  <c:v>34.5</c:v>
                </c:pt>
                <c:pt idx="795">
                  <c:v>34.39</c:v>
                </c:pt>
                <c:pt idx="796">
                  <c:v>36.25</c:v>
                </c:pt>
                <c:pt idx="797">
                  <c:v>35.31</c:v>
                </c:pt>
                <c:pt idx="798">
                  <c:v>34.020000000000003</c:v>
                </c:pt>
                <c:pt idx="799">
                  <c:v>33.83</c:v>
                </c:pt>
                <c:pt idx="800">
                  <c:v>34.5</c:v>
                </c:pt>
                <c:pt idx="801">
                  <c:v>34.450000000000003</c:v>
                </c:pt>
                <c:pt idx="802">
                  <c:v>33.729999999999997</c:v>
                </c:pt>
                <c:pt idx="803">
                  <c:v>35.36</c:v>
                </c:pt>
                <c:pt idx="804">
                  <c:v>35.03</c:v>
                </c:pt>
                <c:pt idx="805" formatCode="General">
                  <c:v>36.78</c:v>
                </c:pt>
                <c:pt idx="806" formatCode="General">
                  <c:v>36.58</c:v>
                </c:pt>
                <c:pt idx="807" formatCode="General">
                  <c:v>35.64</c:v>
                </c:pt>
              </c:numCache>
            </c:numRef>
          </c:val>
          <c:smooth val="0"/>
          <c:extLst>
            <c:ext xmlns:c16="http://schemas.microsoft.com/office/drawing/2014/chart" uri="{C3380CC4-5D6E-409C-BE32-E72D297353CC}">
              <c16:uniqueId val="{00000000-8B6B-43B0-95AB-BD0EF4B9E800}"/>
            </c:ext>
          </c:extLst>
        </c:ser>
        <c:dLbls>
          <c:showLegendKey val="0"/>
          <c:showVal val="0"/>
          <c:showCatName val="0"/>
          <c:showSerName val="0"/>
          <c:showPercent val="0"/>
          <c:showBubbleSize val="0"/>
        </c:dLbls>
        <c:smooth val="0"/>
        <c:axId val="2063833424"/>
        <c:axId val="1"/>
      </c:lineChart>
      <c:catAx>
        <c:axId val="20638334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3342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Bulls</a:t>
            </a:r>
          </a:p>
        </c:rich>
      </c:tx>
      <c:overlay val="0"/>
    </c:title>
    <c:autoTitleDeleted val="0"/>
    <c:plotArea>
      <c:layout>
        <c:manualLayout>
          <c:layoutTarget val="inner"/>
          <c:xMode val="edge"/>
          <c:yMode val="edge"/>
          <c:x val="8.8456000220680855E-2"/>
          <c:y val="0.1335631379410907"/>
          <c:w val="0.8676779162822631"/>
          <c:h val="0.78677888597258672"/>
        </c:manualLayout>
      </c:layout>
      <c:lineChart>
        <c:grouping val="standard"/>
        <c:varyColors val="0"/>
        <c:ser>
          <c:idx val="6"/>
          <c:order val="0"/>
          <c:tx>
            <c:strRef>
              <c:f>Summary!$G$3</c:f>
              <c:strCache>
                <c:ptCount val="1"/>
                <c:pt idx="0">
                  <c:v>Bulls</c:v>
                </c:pt>
              </c:strCache>
            </c:strRef>
          </c:tx>
          <c:spPr>
            <a:ln w="12700">
              <a:solidFill>
                <a:schemeClr val="tx1"/>
              </a:solidFill>
            </a:ln>
          </c:spPr>
          <c:marker>
            <c:symbol val="none"/>
          </c:marker>
          <c:cat>
            <c:numRef>
              <c:f>Summary!$B$4:$B$824</c:f>
              <c:numCache>
                <c:formatCode>General</c:formatCode>
                <c:ptCount val="821"/>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G$4:$G$825</c:f>
              <c:numCache>
                <c:formatCode>0.00</c:formatCode>
                <c:ptCount val="822"/>
                <c:pt idx="0">
                  <c:v>10.9</c:v>
                </c:pt>
                <c:pt idx="1">
                  <c:v>11.16</c:v>
                </c:pt>
                <c:pt idx="2">
                  <c:v>11.41</c:v>
                </c:pt>
                <c:pt idx="3">
                  <c:v>10.17</c:v>
                </c:pt>
                <c:pt idx="4">
                  <c:v>10.87</c:v>
                </c:pt>
                <c:pt idx="5">
                  <c:v>10.97</c:v>
                </c:pt>
                <c:pt idx="6">
                  <c:v>10.27</c:v>
                </c:pt>
                <c:pt idx="7">
                  <c:v>10.26</c:v>
                </c:pt>
                <c:pt idx="8">
                  <c:v>10.130000000000001</c:v>
                </c:pt>
                <c:pt idx="9">
                  <c:v>10.61</c:v>
                </c:pt>
                <c:pt idx="10">
                  <c:v>10.06</c:v>
                </c:pt>
                <c:pt idx="11">
                  <c:v>10.11</c:v>
                </c:pt>
                <c:pt idx="12">
                  <c:v>10.11</c:v>
                </c:pt>
                <c:pt idx="13">
                  <c:v>9.6300000000000008</c:v>
                </c:pt>
                <c:pt idx="14">
                  <c:v>11.92</c:v>
                </c:pt>
                <c:pt idx="15">
                  <c:v>14.64</c:v>
                </c:pt>
                <c:pt idx="16">
                  <c:v>11.27</c:v>
                </c:pt>
                <c:pt idx="17">
                  <c:v>10.47</c:v>
                </c:pt>
                <c:pt idx="18">
                  <c:v>10.97</c:v>
                </c:pt>
                <c:pt idx="19">
                  <c:v>11.02</c:v>
                </c:pt>
                <c:pt idx="20">
                  <c:v>10.75</c:v>
                </c:pt>
                <c:pt idx="21">
                  <c:v>10.77</c:v>
                </c:pt>
                <c:pt idx="22">
                  <c:v>10.43</c:v>
                </c:pt>
                <c:pt idx="23">
                  <c:v>10.199999999999999</c:v>
                </c:pt>
                <c:pt idx="24">
                  <c:v>10.45</c:v>
                </c:pt>
                <c:pt idx="25">
                  <c:v>10.220000000000001</c:v>
                </c:pt>
                <c:pt idx="26">
                  <c:v>10.09</c:v>
                </c:pt>
                <c:pt idx="27">
                  <c:v>10.5</c:v>
                </c:pt>
                <c:pt idx="28">
                  <c:v>9.9700000000000006</c:v>
                </c:pt>
                <c:pt idx="29">
                  <c:v>9.06</c:v>
                </c:pt>
                <c:pt idx="30">
                  <c:v>11.21</c:v>
                </c:pt>
                <c:pt idx="31">
                  <c:v>11.76</c:v>
                </c:pt>
                <c:pt idx="32">
                  <c:v>10.73</c:v>
                </c:pt>
                <c:pt idx="33">
                  <c:v>10.72</c:v>
                </c:pt>
                <c:pt idx="34">
                  <c:v>11.31</c:v>
                </c:pt>
                <c:pt idx="35">
                  <c:v>11.94</c:v>
                </c:pt>
                <c:pt idx="36">
                  <c:v>10.87</c:v>
                </c:pt>
                <c:pt idx="37">
                  <c:v>10.88</c:v>
                </c:pt>
                <c:pt idx="38">
                  <c:v>10.87</c:v>
                </c:pt>
                <c:pt idx="39">
                  <c:v>11.24</c:v>
                </c:pt>
                <c:pt idx="40">
                  <c:v>12.63</c:v>
                </c:pt>
                <c:pt idx="41">
                  <c:v>12.05</c:v>
                </c:pt>
                <c:pt idx="42">
                  <c:v>11.63</c:v>
                </c:pt>
                <c:pt idx="43">
                  <c:v>11.87</c:v>
                </c:pt>
                <c:pt idx="44">
                  <c:v>11.68</c:v>
                </c:pt>
                <c:pt idx="45">
                  <c:v>11.78</c:v>
                </c:pt>
                <c:pt idx="46">
                  <c:v>11.21</c:v>
                </c:pt>
                <c:pt idx="47">
                  <c:v>11.21</c:v>
                </c:pt>
                <c:pt idx="48">
                  <c:v>13.23</c:v>
                </c:pt>
                <c:pt idx="49">
                  <c:v>12.26</c:v>
                </c:pt>
                <c:pt idx="50">
                  <c:v>12.1</c:v>
                </c:pt>
                <c:pt idx="51">
                  <c:v>12.41</c:v>
                </c:pt>
                <c:pt idx="52">
                  <c:v>11.69</c:v>
                </c:pt>
                <c:pt idx="53">
                  <c:v>11.52</c:v>
                </c:pt>
                <c:pt idx="54">
                  <c:v>11.38</c:v>
                </c:pt>
                <c:pt idx="55">
                  <c:v>11.28</c:v>
                </c:pt>
                <c:pt idx="56">
                  <c:v>11.2</c:v>
                </c:pt>
                <c:pt idx="57">
                  <c:v>11.53</c:v>
                </c:pt>
                <c:pt idx="58">
                  <c:v>11.84</c:v>
                </c:pt>
                <c:pt idx="59">
                  <c:v>11.99</c:v>
                </c:pt>
                <c:pt idx="60">
                  <c:v>12.21</c:v>
                </c:pt>
                <c:pt idx="61">
                  <c:v>12.18</c:v>
                </c:pt>
                <c:pt idx="62">
                  <c:v>12.28</c:v>
                </c:pt>
                <c:pt idx="63">
                  <c:v>12.04</c:v>
                </c:pt>
                <c:pt idx="64">
                  <c:v>12.71</c:v>
                </c:pt>
                <c:pt idx="65">
                  <c:v>12.27</c:v>
                </c:pt>
                <c:pt idx="66">
                  <c:v>12.82</c:v>
                </c:pt>
                <c:pt idx="67">
                  <c:v>12.53</c:v>
                </c:pt>
                <c:pt idx="68">
                  <c:v>13.08</c:v>
                </c:pt>
                <c:pt idx="69">
                  <c:v>12.79</c:v>
                </c:pt>
                <c:pt idx="70">
                  <c:v>13.9</c:v>
                </c:pt>
                <c:pt idx="71">
                  <c:v>12.97</c:v>
                </c:pt>
                <c:pt idx="72">
                  <c:v>13.19</c:v>
                </c:pt>
                <c:pt idx="73">
                  <c:v>14.47</c:v>
                </c:pt>
                <c:pt idx="74">
                  <c:v>13.89</c:v>
                </c:pt>
                <c:pt idx="75">
                  <c:v>15.59</c:v>
                </c:pt>
                <c:pt idx="76">
                  <c:v>15.59</c:v>
                </c:pt>
                <c:pt idx="77">
                  <c:v>13.57</c:v>
                </c:pt>
                <c:pt idx="78">
                  <c:v>14.06</c:v>
                </c:pt>
                <c:pt idx="79">
                  <c:v>14.11</c:v>
                </c:pt>
                <c:pt idx="80">
                  <c:v>14.84</c:v>
                </c:pt>
                <c:pt idx="81">
                  <c:v>13.86</c:v>
                </c:pt>
                <c:pt idx="82">
                  <c:v>14.02</c:v>
                </c:pt>
                <c:pt idx="83">
                  <c:v>14.76</c:v>
                </c:pt>
                <c:pt idx="84">
                  <c:v>16.559999999999999</c:v>
                </c:pt>
                <c:pt idx="85">
                  <c:v>15.04</c:v>
                </c:pt>
                <c:pt idx="86">
                  <c:v>16.07</c:v>
                </c:pt>
                <c:pt idx="87">
                  <c:v>17.2</c:v>
                </c:pt>
                <c:pt idx="88">
                  <c:v>16.21</c:v>
                </c:pt>
                <c:pt idx="89">
                  <c:v>15.77</c:v>
                </c:pt>
                <c:pt idx="90">
                  <c:v>15.06</c:v>
                </c:pt>
                <c:pt idx="91">
                  <c:v>15.72</c:v>
                </c:pt>
                <c:pt idx="92">
                  <c:v>14.49</c:v>
                </c:pt>
                <c:pt idx="93">
                  <c:v>14.71</c:v>
                </c:pt>
                <c:pt idx="94">
                  <c:v>14.27</c:v>
                </c:pt>
                <c:pt idx="95">
                  <c:v>13.62</c:v>
                </c:pt>
                <c:pt idx="96">
                  <c:v>13.74</c:v>
                </c:pt>
                <c:pt idx="97">
                  <c:v>13.8</c:v>
                </c:pt>
                <c:pt idx="98">
                  <c:v>12.5</c:v>
                </c:pt>
                <c:pt idx="99">
                  <c:v>13.18</c:v>
                </c:pt>
                <c:pt idx="100">
                  <c:v>12.11</c:v>
                </c:pt>
                <c:pt idx="101">
                  <c:v>11.79</c:v>
                </c:pt>
                <c:pt idx="102">
                  <c:v>12.01</c:v>
                </c:pt>
                <c:pt idx="103">
                  <c:v>11.26</c:v>
                </c:pt>
                <c:pt idx="104">
                  <c:v>11.27</c:v>
                </c:pt>
                <c:pt idx="105">
                  <c:v>11.28</c:v>
                </c:pt>
                <c:pt idx="106">
                  <c:v>11.4</c:v>
                </c:pt>
                <c:pt idx="107">
                  <c:v>12.22</c:v>
                </c:pt>
                <c:pt idx="108">
                  <c:v>11.56</c:v>
                </c:pt>
                <c:pt idx="109">
                  <c:v>12.89</c:v>
                </c:pt>
                <c:pt idx="110">
                  <c:v>11.39</c:v>
                </c:pt>
                <c:pt idx="111">
                  <c:v>12.48</c:v>
                </c:pt>
                <c:pt idx="112">
                  <c:v>10.69</c:v>
                </c:pt>
                <c:pt idx="113">
                  <c:v>12.37</c:v>
                </c:pt>
                <c:pt idx="114">
                  <c:v>8.52</c:v>
                </c:pt>
                <c:pt idx="115">
                  <c:v>11.79</c:v>
                </c:pt>
                <c:pt idx="116">
                  <c:v>11.97</c:v>
                </c:pt>
                <c:pt idx="117">
                  <c:v>11.69</c:v>
                </c:pt>
                <c:pt idx="118">
                  <c:v>11.7</c:v>
                </c:pt>
                <c:pt idx="119">
                  <c:v>11.56</c:v>
                </c:pt>
                <c:pt idx="120">
                  <c:v>12.68</c:v>
                </c:pt>
                <c:pt idx="121">
                  <c:v>12.3</c:v>
                </c:pt>
                <c:pt idx="122">
                  <c:v>12.19</c:v>
                </c:pt>
                <c:pt idx="123">
                  <c:v>12.32</c:v>
                </c:pt>
                <c:pt idx="124">
                  <c:v>12.45</c:v>
                </c:pt>
                <c:pt idx="125">
                  <c:v>14.25</c:v>
                </c:pt>
                <c:pt idx="126">
                  <c:v>12.73</c:v>
                </c:pt>
                <c:pt idx="127">
                  <c:v>12.93</c:v>
                </c:pt>
                <c:pt idx="128">
                  <c:v>13.6</c:v>
                </c:pt>
                <c:pt idx="129">
                  <c:v>14.92</c:v>
                </c:pt>
                <c:pt idx="130">
                  <c:v>14.4</c:v>
                </c:pt>
                <c:pt idx="131">
                  <c:v>14.98</c:v>
                </c:pt>
                <c:pt idx="132">
                  <c:v>12.98</c:v>
                </c:pt>
                <c:pt idx="133">
                  <c:v>14.26</c:v>
                </c:pt>
                <c:pt idx="134">
                  <c:v>16.82</c:v>
                </c:pt>
                <c:pt idx="135">
                  <c:v>14.44</c:v>
                </c:pt>
                <c:pt idx="136">
                  <c:v>15.41</c:v>
                </c:pt>
                <c:pt idx="137">
                  <c:v>14.83</c:v>
                </c:pt>
                <c:pt idx="138">
                  <c:v>15.84</c:v>
                </c:pt>
                <c:pt idx="139">
                  <c:v>14.73</c:v>
                </c:pt>
                <c:pt idx="140">
                  <c:v>14.87</c:v>
                </c:pt>
                <c:pt idx="141">
                  <c:v>13.01</c:v>
                </c:pt>
                <c:pt idx="142">
                  <c:v>13.47</c:v>
                </c:pt>
                <c:pt idx="143">
                  <c:v>13.07</c:v>
                </c:pt>
                <c:pt idx="144">
                  <c:v>12.07</c:v>
                </c:pt>
                <c:pt idx="145">
                  <c:v>12.05</c:v>
                </c:pt>
                <c:pt idx="146">
                  <c:v>11.86</c:v>
                </c:pt>
                <c:pt idx="147">
                  <c:v>11.99</c:v>
                </c:pt>
                <c:pt idx="148">
                  <c:v>11.18</c:v>
                </c:pt>
                <c:pt idx="149">
                  <c:v>11.08</c:v>
                </c:pt>
                <c:pt idx="150">
                  <c:v>10.73</c:v>
                </c:pt>
                <c:pt idx="151">
                  <c:v>10.84</c:v>
                </c:pt>
                <c:pt idx="152">
                  <c:v>10.63</c:v>
                </c:pt>
                <c:pt idx="153">
                  <c:v>11.95</c:v>
                </c:pt>
                <c:pt idx="154">
                  <c:v>10.57</c:v>
                </c:pt>
                <c:pt idx="155">
                  <c:v>11.49</c:v>
                </c:pt>
                <c:pt idx="156">
                  <c:v>11.93</c:v>
                </c:pt>
                <c:pt idx="157">
                  <c:v>12.36</c:v>
                </c:pt>
                <c:pt idx="158">
                  <c:v>12.26</c:v>
                </c:pt>
                <c:pt idx="159">
                  <c:v>12.54</c:v>
                </c:pt>
                <c:pt idx="160">
                  <c:v>12.17</c:v>
                </c:pt>
                <c:pt idx="161">
                  <c:v>11.37</c:v>
                </c:pt>
                <c:pt idx="162">
                  <c:v>12.03</c:v>
                </c:pt>
                <c:pt idx="163">
                  <c:v>11.25</c:v>
                </c:pt>
                <c:pt idx="164">
                  <c:v>11.41</c:v>
                </c:pt>
                <c:pt idx="165">
                  <c:v>11.54</c:v>
                </c:pt>
                <c:pt idx="166">
                  <c:v>11.72</c:v>
                </c:pt>
                <c:pt idx="167">
                  <c:v>11.61</c:v>
                </c:pt>
                <c:pt idx="168">
                  <c:v>12.16</c:v>
                </c:pt>
                <c:pt idx="169">
                  <c:v>14.17</c:v>
                </c:pt>
                <c:pt idx="170">
                  <c:v>12.61</c:v>
                </c:pt>
                <c:pt idx="171">
                  <c:v>12.21</c:v>
                </c:pt>
                <c:pt idx="172">
                  <c:v>12.24</c:v>
                </c:pt>
                <c:pt idx="173">
                  <c:v>12.43</c:v>
                </c:pt>
                <c:pt idx="174">
                  <c:v>12.63</c:v>
                </c:pt>
                <c:pt idx="175">
                  <c:v>12.77</c:v>
                </c:pt>
                <c:pt idx="176">
                  <c:v>12.46</c:v>
                </c:pt>
                <c:pt idx="177">
                  <c:v>14.35</c:v>
                </c:pt>
                <c:pt idx="178">
                  <c:v>12.45</c:v>
                </c:pt>
                <c:pt idx="179">
                  <c:v>13.18</c:v>
                </c:pt>
                <c:pt idx="180">
                  <c:v>14.25</c:v>
                </c:pt>
                <c:pt idx="181">
                  <c:v>11.37</c:v>
                </c:pt>
                <c:pt idx="182">
                  <c:v>12.64</c:v>
                </c:pt>
                <c:pt idx="183">
                  <c:v>13.6</c:v>
                </c:pt>
                <c:pt idx="184">
                  <c:v>14.3</c:v>
                </c:pt>
                <c:pt idx="185">
                  <c:v>15.6</c:v>
                </c:pt>
                <c:pt idx="186">
                  <c:v>13.67</c:v>
                </c:pt>
                <c:pt idx="187">
                  <c:v>13.53</c:v>
                </c:pt>
                <c:pt idx="188">
                  <c:v>13.95</c:v>
                </c:pt>
                <c:pt idx="189">
                  <c:v>13.67</c:v>
                </c:pt>
                <c:pt idx="190">
                  <c:v>13.28</c:v>
                </c:pt>
                <c:pt idx="191">
                  <c:v>12.54</c:v>
                </c:pt>
                <c:pt idx="192">
                  <c:v>12.8</c:v>
                </c:pt>
                <c:pt idx="193">
                  <c:v>12.62</c:v>
                </c:pt>
                <c:pt idx="194">
                  <c:v>12.52</c:v>
                </c:pt>
                <c:pt idx="195">
                  <c:v>12.32</c:v>
                </c:pt>
                <c:pt idx="196">
                  <c:v>12.67</c:v>
                </c:pt>
                <c:pt idx="197">
                  <c:v>11.89</c:v>
                </c:pt>
                <c:pt idx="198">
                  <c:v>11.81</c:v>
                </c:pt>
                <c:pt idx="199">
                  <c:v>12.67</c:v>
                </c:pt>
                <c:pt idx="200">
                  <c:v>12.51</c:v>
                </c:pt>
                <c:pt idx="201">
                  <c:v>12.48</c:v>
                </c:pt>
                <c:pt idx="202">
                  <c:v>12.29</c:v>
                </c:pt>
                <c:pt idx="203">
                  <c:v>12.74</c:v>
                </c:pt>
                <c:pt idx="204">
                  <c:v>12.3</c:v>
                </c:pt>
                <c:pt idx="205">
                  <c:v>12.38</c:v>
                </c:pt>
                <c:pt idx="206">
                  <c:v>12.19</c:v>
                </c:pt>
                <c:pt idx="207">
                  <c:v>12.11</c:v>
                </c:pt>
                <c:pt idx="208">
                  <c:v>11.7</c:v>
                </c:pt>
                <c:pt idx="209">
                  <c:v>12.47</c:v>
                </c:pt>
                <c:pt idx="210">
                  <c:v>12.15</c:v>
                </c:pt>
                <c:pt idx="211">
                  <c:v>12.71</c:v>
                </c:pt>
                <c:pt idx="212">
                  <c:v>12.39</c:v>
                </c:pt>
                <c:pt idx="213">
                  <c:v>13.04</c:v>
                </c:pt>
                <c:pt idx="214">
                  <c:v>13.16</c:v>
                </c:pt>
                <c:pt idx="215">
                  <c:v>13.98</c:v>
                </c:pt>
                <c:pt idx="216">
                  <c:v>13.8</c:v>
                </c:pt>
                <c:pt idx="217">
                  <c:v>15.03</c:v>
                </c:pt>
                <c:pt idx="218">
                  <c:v>14.48</c:v>
                </c:pt>
                <c:pt idx="219">
                  <c:v>14.47</c:v>
                </c:pt>
                <c:pt idx="220">
                  <c:v>15.16</c:v>
                </c:pt>
                <c:pt idx="221">
                  <c:v>14.83</c:v>
                </c:pt>
                <c:pt idx="222">
                  <c:v>14.51</c:v>
                </c:pt>
                <c:pt idx="223">
                  <c:v>16.170000000000002</c:v>
                </c:pt>
                <c:pt idx="224">
                  <c:v>13.87</c:v>
                </c:pt>
                <c:pt idx="225">
                  <c:v>14.48</c:v>
                </c:pt>
                <c:pt idx="226">
                  <c:v>10.23</c:v>
                </c:pt>
                <c:pt idx="227">
                  <c:v>15.31</c:v>
                </c:pt>
                <c:pt idx="228">
                  <c:v>15</c:v>
                </c:pt>
                <c:pt idx="229">
                  <c:v>14.09</c:v>
                </c:pt>
                <c:pt idx="230">
                  <c:v>14.56</c:v>
                </c:pt>
                <c:pt idx="231">
                  <c:v>14.92</c:v>
                </c:pt>
                <c:pt idx="232">
                  <c:v>15.41</c:v>
                </c:pt>
                <c:pt idx="233">
                  <c:v>16.03</c:v>
                </c:pt>
                <c:pt idx="234">
                  <c:v>15.59</c:v>
                </c:pt>
                <c:pt idx="235">
                  <c:v>14.81</c:v>
                </c:pt>
                <c:pt idx="236">
                  <c:v>16.059999999999999</c:v>
                </c:pt>
                <c:pt idx="237">
                  <c:v>15.42</c:v>
                </c:pt>
                <c:pt idx="238">
                  <c:v>14.87</c:v>
                </c:pt>
                <c:pt idx="239">
                  <c:v>15.24</c:v>
                </c:pt>
                <c:pt idx="240">
                  <c:v>15.18</c:v>
                </c:pt>
                <c:pt idx="241">
                  <c:v>14.94</c:v>
                </c:pt>
                <c:pt idx="242">
                  <c:v>15.04</c:v>
                </c:pt>
                <c:pt idx="243">
                  <c:v>14.58</c:v>
                </c:pt>
                <c:pt idx="244">
                  <c:v>14.58</c:v>
                </c:pt>
                <c:pt idx="245">
                  <c:v>13.52</c:v>
                </c:pt>
                <c:pt idx="246">
                  <c:v>12.72</c:v>
                </c:pt>
                <c:pt idx="247">
                  <c:v>12.47</c:v>
                </c:pt>
                <c:pt idx="248">
                  <c:v>12.93</c:v>
                </c:pt>
                <c:pt idx="249">
                  <c:v>12.6</c:v>
                </c:pt>
                <c:pt idx="250">
                  <c:v>13.51</c:v>
                </c:pt>
                <c:pt idx="251">
                  <c:v>13.03</c:v>
                </c:pt>
                <c:pt idx="252">
                  <c:v>12.93</c:v>
                </c:pt>
                <c:pt idx="253">
                  <c:v>12.86</c:v>
                </c:pt>
                <c:pt idx="254">
                  <c:v>13.75</c:v>
                </c:pt>
                <c:pt idx="255">
                  <c:v>14.08</c:v>
                </c:pt>
                <c:pt idx="256">
                  <c:v>13.2</c:v>
                </c:pt>
                <c:pt idx="257">
                  <c:v>14.66</c:v>
                </c:pt>
                <c:pt idx="258">
                  <c:v>13.89</c:v>
                </c:pt>
                <c:pt idx="259">
                  <c:v>13.81</c:v>
                </c:pt>
                <c:pt idx="260">
                  <c:v>14.44</c:v>
                </c:pt>
                <c:pt idx="261">
                  <c:v>13.41</c:v>
                </c:pt>
                <c:pt idx="262">
                  <c:v>13.8</c:v>
                </c:pt>
                <c:pt idx="263">
                  <c:v>13.53</c:v>
                </c:pt>
                <c:pt idx="264">
                  <c:v>13.84</c:v>
                </c:pt>
                <c:pt idx="265">
                  <c:v>13.87</c:v>
                </c:pt>
                <c:pt idx="266">
                  <c:v>14.49</c:v>
                </c:pt>
                <c:pt idx="267">
                  <c:v>13.39</c:v>
                </c:pt>
                <c:pt idx="268">
                  <c:v>13.48</c:v>
                </c:pt>
                <c:pt idx="269">
                  <c:v>14.48</c:v>
                </c:pt>
                <c:pt idx="270">
                  <c:v>14.83</c:v>
                </c:pt>
                <c:pt idx="271">
                  <c:v>15.23</c:v>
                </c:pt>
                <c:pt idx="272">
                  <c:v>15.29</c:v>
                </c:pt>
                <c:pt idx="273">
                  <c:v>14.3</c:v>
                </c:pt>
                <c:pt idx="274">
                  <c:v>14.36</c:v>
                </c:pt>
                <c:pt idx="275">
                  <c:v>15.23</c:v>
                </c:pt>
                <c:pt idx="276">
                  <c:v>14.57</c:v>
                </c:pt>
                <c:pt idx="277">
                  <c:v>15.46</c:v>
                </c:pt>
                <c:pt idx="278">
                  <c:v>14.7</c:v>
                </c:pt>
                <c:pt idx="279">
                  <c:v>15.65</c:v>
                </c:pt>
                <c:pt idx="280">
                  <c:v>15.94</c:v>
                </c:pt>
                <c:pt idx="281">
                  <c:v>14.68</c:v>
                </c:pt>
                <c:pt idx="282">
                  <c:v>15.45</c:v>
                </c:pt>
                <c:pt idx="283">
                  <c:v>15.8</c:v>
                </c:pt>
                <c:pt idx="284">
                  <c:v>14.67</c:v>
                </c:pt>
                <c:pt idx="285">
                  <c:v>14.92</c:v>
                </c:pt>
                <c:pt idx="286">
                  <c:v>16.329999999999998</c:v>
                </c:pt>
                <c:pt idx="287">
                  <c:v>15.65</c:v>
                </c:pt>
                <c:pt idx="288">
                  <c:v>14.53</c:v>
                </c:pt>
                <c:pt idx="289">
                  <c:v>14.41</c:v>
                </c:pt>
                <c:pt idx="290">
                  <c:v>13.54</c:v>
                </c:pt>
                <c:pt idx="291">
                  <c:v>15.01</c:v>
                </c:pt>
                <c:pt idx="292">
                  <c:v>14.1</c:v>
                </c:pt>
                <c:pt idx="293">
                  <c:v>14.96</c:v>
                </c:pt>
                <c:pt idx="294">
                  <c:v>13.93</c:v>
                </c:pt>
                <c:pt idx="295">
                  <c:v>14.8</c:v>
                </c:pt>
                <c:pt idx="296">
                  <c:v>14.59</c:v>
                </c:pt>
                <c:pt idx="297">
                  <c:v>15.15</c:v>
                </c:pt>
                <c:pt idx="298">
                  <c:v>13.99</c:v>
                </c:pt>
                <c:pt idx="299">
                  <c:v>14.13</c:v>
                </c:pt>
                <c:pt idx="300">
                  <c:v>14.49</c:v>
                </c:pt>
                <c:pt idx="301">
                  <c:v>14.79</c:v>
                </c:pt>
                <c:pt idx="302">
                  <c:v>14.22</c:v>
                </c:pt>
                <c:pt idx="303">
                  <c:v>13.07</c:v>
                </c:pt>
                <c:pt idx="304">
                  <c:v>13.66</c:v>
                </c:pt>
                <c:pt idx="305">
                  <c:v>14.59</c:v>
                </c:pt>
                <c:pt idx="306">
                  <c:v>14.01</c:v>
                </c:pt>
                <c:pt idx="307">
                  <c:v>14.48</c:v>
                </c:pt>
                <c:pt idx="308">
                  <c:v>15.32</c:v>
                </c:pt>
                <c:pt idx="309">
                  <c:v>14.56</c:v>
                </c:pt>
                <c:pt idx="310">
                  <c:v>14.79</c:v>
                </c:pt>
                <c:pt idx="311">
                  <c:v>13.89</c:v>
                </c:pt>
                <c:pt idx="312">
                  <c:v>13.98</c:v>
                </c:pt>
                <c:pt idx="313">
                  <c:v>15.23</c:v>
                </c:pt>
                <c:pt idx="314">
                  <c:v>15.66</c:v>
                </c:pt>
                <c:pt idx="315">
                  <c:v>15.81</c:v>
                </c:pt>
                <c:pt idx="316">
                  <c:v>15.48</c:v>
                </c:pt>
                <c:pt idx="317">
                  <c:v>14.82</c:v>
                </c:pt>
                <c:pt idx="318">
                  <c:v>16.079999999999998</c:v>
                </c:pt>
                <c:pt idx="319">
                  <c:v>16.829999999999998</c:v>
                </c:pt>
                <c:pt idx="320">
                  <c:v>16.350000000000001</c:v>
                </c:pt>
                <c:pt idx="321">
                  <c:v>16.82</c:v>
                </c:pt>
                <c:pt idx="322">
                  <c:v>16.75</c:v>
                </c:pt>
                <c:pt idx="323">
                  <c:v>15.96</c:v>
                </c:pt>
                <c:pt idx="324">
                  <c:v>17.45</c:v>
                </c:pt>
                <c:pt idx="325">
                  <c:v>17.010000000000002</c:v>
                </c:pt>
                <c:pt idx="326">
                  <c:v>17.25</c:v>
                </c:pt>
                <c:pt idx="327">
                  <c:v>17.329999999999998</c:v>
                </c:pt>
                <c:pt idx="328">
                  <c:v>17.47</c:v>
                </c:pt>
                <c:pt idx="329">
                  <c:v>16.079999999999998</c:v>
                </c:pt>
                <c:pt idx="330">
                  <c:v>17.53</c:v>
                </c:pt>
                <c:pt idx="331">
                  <c:v>16.86</c:v>
                </c:pt>
                <c:pt idx="332">
                  <c:v>18.350000000000001</c:v>
                </c:pt>
                <c:pt idx="333">
                  <c:v>16.649999999999999</c:v>
                </c:pt>
                <c:pt idx="334">
                  <c:v>18.809999999999999</c:v>
                </c:pt>
                <c:pt idx="335">
                  <c:v>17.88</c:v>
                </c:pt>
                <c:pt idx="336">
                  <c:v>18.32</c:v>
                </c:pt>
                <c:pt idx="337">
                  <c:v>18.62</c:v>
                </c:pt>
                <c:pt idx="338">
                  <c:v>17.28</c:v>
                </c:pt>
                <c:pt idx="339">
                  <c:v>16.43</c:v>
                </c:pt>
                <c:pt idx="340">
                  <c:v>15.55</c:v>
                </c:pt>
                <c:pt idx="341">
                  <c:v>18.420000000000002</c:v>
                </c:pt>
                <c:pt idx="342">
                  <c:v>17.489999999999998</c:v>
                </c:pt>
                <c:pt idx="343">
                  <c:v>18.22</c:v>
                </c:pt>
                <c:pt idx="344">
                  <c:v>17.760000000000002</c:v>
                </c:pt>
                <c:pt idx="345">
                  <c:v>16.84</c:v>
                </c:pt>
                <c:pt idx="346">
                  <c:v>18.239999999999998</c:v>
                </c:pt>
                <c:pt idx="347">
                  <c:v>18.11</c:v>
                </c:pt>
                <c:pt idx="348">
                  <c:v>17.93</c:v>
                </c:pt>
                <c:pt idx="349">
                  <c:v>18</c:v>
                </c:pt>
                <c:pt idx="350">
                  <c:v>18.62</c:v>
                </c:pt>
                <c:pt idx="351">
                  <c:v>18.43</c:v>
                </c:pt>
                <c:pt idx="352">
                  <c:v>19.41</c:v>
                </c:pt>
                <c:pt idx="353">
                  <c:v>18.5</c:v>
                </c:pt>
                <c:pt idx="354">
                  <c:v>19.45</c:v>
                </c:pt>
                <c:pt idx="355">
                  <c:v>19.93</c:v>
                </c:pt>
                <c:pt idx="356">
                  <c:v>19.37</c:v>
                </c:pt>
                <c:pt idx="357">
                  <c:v>18.29</c:v>
                </c:pt>
                <c:pt idx="358">
                  <c:v>19.41</c:v>
                </c:pt>
                <c:pt idx="359">
                  <c:v>20.2</c:v>
                </c:pt>
                <c:pt idx="360">
                  <c:v>16.86</c:v>
                </c:pt>
                <c:pt idx="361">
                  <c:v>20.16</c:v>
                </c:pt>
                <c:pt idx="362">
                  <c:v>21.17</c:v>
                </c:pt>
                <c:pt idx="363">
                  <c:v>21.3</c:v>
                </c:pt>
                <c:pt idx="364">
                  <c:v>20.63</c:v>
                </c:pt>
                <c:pt idx="365">
                  <c:v>22.14</c:v>
                </c:pt>
                <c:pt idx="366">
                  <c:v>21.85</c:v>
                </c:pt>
                <c:pt idx="367">
                  <c:v>21.38</c:v>
                </c:pt>
                <c:pt idx="368">
                  <c:v>22.01</c:v>
                </c:pt>
                <c:pt idx="369">
                  <c:v>22.67</c:v>
                </c:pt>
                <c:pt idx="370">
                  <c:v>21.51</c:v>
                </c:pt>
                <c:pt idx="371">
                  <c:v>22.12</c:v>
                </c:pt>
                <c:pt idx="372">
                  <c:v>21.66</c:v>
                </c:pt>
                <c:pt idx="373">
                  <c:v>21.44</c:v>
                </c:pt>
                <c:pt idx="374">
                  <c:v>22.89</c:v>
                </c:pt>
                <c:pt idx="375">
                  <c:v>22.29</c:v>
                </c:pt>
                <c:pt idx="376">
                  <c:v>21.05</c:v>
                </c:pt>
                <c:pt idx="377">
                  <c:v>20.190000000000001</c:v>
                </c:pt>
                <c:pt idx="378">
                  <c:v>23.37</c:v>
                </c:pt>
                <c:pt idx="379">
                  <c:v>22.14</c:v>
                </c:pt>
                <c:pt idx="380">
                  <c:v>22.61</c:v>
                </c:pt>
                <c:pt idx="381">
                  <c:v>21.75</c:v>
                </c:pt>
                <c:pt idx="382">
                  <c:v>22</c:v>
                </c:pt>
                <c:pt idx="383">
                  <c:v>21.88</c:v>
                </c:pt>
                <c:pt idx="384">
                  <c:v>22.3</c:v>
                </c:pt>
                <c:pt idx="385">
                  <c:v>22.95</c:v>
                </c:pt>
                <c:pt idx="386">
                  <c:v>21.93</c:v>
                </c:pt>
                <c:pt idx="387">
                  <c:v>24.02</c:v>
                </c:pt>
                <c:pt idx="388">
                  <c:v>23.58</c:v>
                </c:pt>
                <c:pt idx="389">
                  <c:v>23.77</c:v>
                </c:pt>
                <c:pt idx="390">
                  <c:v>23.19</c:v>
                </c:pt>
                <c:pt idx="391">
                  <c:v>22.4</c:v>
                </c:pt>
                <c:pt idx="392">
                  <c:v>22.43</c:v>
                </c:pt>
                <c:pt idx="393">
                  <c:v>21.62</c:v>
                </c:pt>
                <c:pt idx="394">
                  <c:v>23.09</c:v>
                </c:pt>
                <c:pt idx="395">
                  <c:v>21.79</c:v>
                </c:pt>
                <c:pt idx="396">
                  <c:v>21.95</c:v>
                </c:pt>
                <c:pt idx="397">
                  <c:v>21.8</c:v>
                </c:pt>
                <c:pt idx="398">
                  <c:v>22.37</c:v>
                </c:pt>
                <c:pt idx="399">
                  <c:v>20.79</c:v>
                </c:pt>
                <c:pt idx="400">
                  <c:v>21.43</c:v>
                </c:pt>
                <c:pt idx="401">
                  <c:v>21.1</c:v>
                </c:pt>
                <c:pt idx="402">
                  <c:v>21.63</c:v>
                </c:pt>
                <c:pt idx="403">
                  <c:v>21.14</c:v>
                </c:pt>
                <c:pt idx="404">
                  <c:v>21.11</c:v>
                </c:pt>
                <c:pt idx="405">
                  <c:v>20.69</c:v>
                </c:pt>
                <c:pt idx="406">
                  <c:v>21.16</c:v>
                </c:pt>
                <c:pt idx="407">
                  <c:v>21.08</c:v>
                </c:pt>
                <c:pt idx="408">
                  <c:v>21.83</c:v>
                </c:pt>
                <c:pt idx="409">
                  <c:v>20.82</c:v>
                </c:pt>
                <c:pt idx="410">
                  <c:v>20.57</c:v>
                </c:pt>
                <c:pt idx="411">
                  <c:v>21.46</c:v>
                </c:pt>
                <c:pt idx="412">
                  <c:v>19.97</c:v>
                </c:pt>
                <c:pt idx="413">
                  <c:v>21.9</c:v>
                </c:pt>
                <c:pt idx="414">
                  <c:v>19.72</c:v>
                </c:pt>
                <c:pt idx="415">
                  <c:v>21.43</c:v>
                </c:pt>
                <c:pt idx="416">
                  <c:v>21.5</c:v>
                </c:pt>
                <c:pt idx="417">
                  <c:v>22.01</c:v>
                </c:pt>
                <c:pt idx="418">
                  <c:v>22.66</c:v>
                </c:pt>
                <c:pt idx="419">
                  <c:v>22.77</c:v>
                </c:pt>
                <c:pt idx="420">
                  <c:v>21.58</c:v>
                </c:pt>
                <c:pt idx="421">
                  <c:v>22.53</c:v>
                </c:pt>
                <c:pt idx="422">
                  <c:v>22.33</c:v>
                </c:pt>
                <c:pt idx="423">
                  <c:v>22.02</c:v>
                </c:pt>
                <c:pt idx="424">
                  <c:v>22.64</c:v>
                </c:pt>
                <c:pt idx="425">
                  <c:v>21.68</c:v>
                </c:pt>
                <c:pt idx="426">
                  <c:v>23.12</c:v>
                </c:pt>
                <c:pt idx="427">
                  <c:v>22.1</c:v>
                </c:pt>
                <c:pt idx="428">
                  <c:v>20.99</c:v>
                </c:pt>
                <c:pt idx="429">
                  <c:v>21.68</c:v>
                </c:pt>
                <c:pt idx="430">
                  <c:v>20.76</c:v>
                </c:pt>
                <c:pt idx="431">
                  <c:v>24.42</c:v>
                </c:pt>
                <c:pt idx="432">
                  <c:v>22.15</c:v>
                </c:pt>
                <c:pt idx="433">
                  <c:v>22.45</c:v>
                </c:pt>
                <c:pt idx="434">
                  <c:v>21.61</c:v>
                </c:pt>
                <c:pt idx="435">
                  <c:v>21.68</c:v>
                </c:pt>
                <c:pt idx="436">
                  <c:v>22.78</c:v>
                </c:pt>
                <c:pt idx="437">
                  <c:v>23.6</c:v>
                </c:pt>
                <c:pt idx="439">
                  <c:v>22.19</c:v>
                </c:pt>
                <c:pt idx="440">
                  <c:v>22.19</c:v>
                </c:pt>
                <c:pt idx="441">
                  <c:v>21.01</c:v>
                </c:pt>
                <c:pt idx="442">
                  <c:v>22.44</c:v>
                </c:pt>
                <c:pt idx="443">
                  <c:v>21.47</c:v>
                </c:pt>
                <c:pt idx="444">
                  <c:v>20.34</c:v>
                </c:pt>
                <c:pt idx="445">
                  <c:v>20.63</c:v>
                </c:pt>
                <c:pt idx="446">
                  <c:v>21.03</c:v>
                </c:pt>
                <c:pt idx="447">
                  <c:v>19.899999999999999</c:v>
                </c:pt>
                <c:pt idx="448">
                  <c:v>21.8</c:v>
                </c:pt>
                <c:pt idx="449">
                  <c:v>18.579999999999998</c:v>
                </c:pt>
                <c:pt idx="450">
                  <c:v>19.96</c:v>
                </c:pt>
                <c:pt idx="451">
                  <c:v>20.43</c:v>
                </c:pt>
                <c:pt idx="452">
                  <c:v>21.33</c:v>
                </c:pt>
                <c:pt idx="453">
                  <c:v>19.940000000000001</c:v>
                </c:pt>
                <c:pt idx="454">
                  <c:v>19</c:v>
                </c:pt>
                <c:pt idx="455">
                  <c:v>21.49</c:v>
                </c:pt>
                <c:pt idx="456">
                  <c:v>18.600000000000001</c:v>
                </c:pt>
                <c:pt idx="457">
                  <c:v>18.95</c:v>
                </c:pt>
                <c:pt idx="458">
                  <c:v>19.41</c:v>
                </c:pt>
                <c:pt idx="459">
                  <c:v>19.05</c:v>
                </c:pt>
                <c:pt idx="460">
                  <c:v>20.98</c:v>
                </c:pt>
                <c:pt idx="461">
                  <c:v>19.22</c:v>
                </c:pt>
                <c:pt idx="462">
                  <c:v>20.36</c:v>
                </c:pt>
                <c:pt idx="463">
                  <c:v>18.53</c:v>
                </c:pt>
                <c:pt idx="464">
                  <c:v>20</c:v>
                </c:pt>
                <c:pt idx="465">
                  <c:v>21.56</c:v>
                </c:pt>
                <c:pt idx="466">
                  <c:v>22.17</c:v>
                </c:pt>
                <c:pt idx="467">
                  <c:v>21.3</c:v>
                </c:pt>
                <c:pt idx="468">
                  <c:v>20.13</c:v>
                </c:pt>
                <c:pt idx="469">
                  <c:v>20.52</c:v>
                </c:pt>
                <c:pt idx="470">
                  <c:v>20.149999999999999</c:v>
                </c:pt>
                <c:pt idx="471">
                  <c:v>19.63</c:v>
                </c:pt>
                <c:pt idx="472">
                  <c:v>21.54</c:v>
                </c:pt>
                <c:pt idx="473">
                  <c:v>19.88</c:v>
                </c:pt>
                <c:pt idx="474">
                  <c:v>16.510000000000002</c:v>
                </c:pt>
                <c:pt idx="475">
                  <c:v>21.43</c:v>
                </c:pt>
                <c:pt idx="477">
                  <c:v>20.38</c:v>
                </c:pt>
                <c:pt idx="478">
                  <c:v>21.62</c:v>
                </c:pt>
                <c:pt idx="479">
                  <c:v>23.09</c:v>
                </c:pt>
                <c:pt idx="480">
                  <c:v>21.5</c:v>
                </c:pt>
                <c:pt idx="481">
                  <c:v>21.16</c:v>
                </c:pt>
                <c:pt idx="482">
                  <c:v>22.49</c:v>
                </c:pt>
                <c:pt idx="483">
                  <c:v>20.48</c:v>
                </c:pt>
                <c:pt idx="495">
                  <c:v>21.92</c:v>
                </c:pt>
                <c:pt idx="496">
                  <c:v>21.43</c:v>
                </c:pt>
                <c:pt idx="497">
                  <c:v>21.44</c:v>
                </c:pt>
                <c:pt idx="498">
                  <c:v>19.350000000000001</c:v>
                </c:pt>
                <c:pt idx="499">
                  <c:v>20.63</c:v>
                </c:pt>
                <c:pt idx="500">
                  <c:v>19.68</c:v>
                </c:pt>
                <c:pt idx="501">
                  <c:v>19.2</c:v>
                </c:pt>
                <c:pt idx="502">
                  <c:v>18.5</c:v>
                </c:pt>
                <c:pt idx="503">
                  <c:v>19.18</c:v>
                </c:pt>
                <c:pt idx="504">
                  <c:v>18.5</c:v>
                </c:pt>
                <c:pt idx="505">
                  <c:v>19.37</c:v>
                </c:pt>
                <c:pt idx="506">
                  <c:v>22.89</c:v>
                </c:pt>
                <c:pt idx="507">
                  <c:v>19.77</c:v>
                </c:pt>
                <c:pt idx="508">
                  <c:v>19.53</c:v>
                </c:pt>
                <c:pt idx="509">
                  <c:v>19.420000000000002</c:v>
                </c:pt>
                <c:pt idx="510">
                  <c:v>19.350000000000001</c:v>
                </c:pt>
                <c:pt idx="511">
                  <c:v>19.55</c:v>
                </c:pt>
                <c:pt idx="512">
                  <c:v>19.73</c:v>
                </c:pt>
                <c:pt idx="513">
                  <c:v>20.6</c:v>
                </c:pt>
                <c:pt idx="514">
                  <c:v>21.28</c:v>
                </c:pt>
                <c:pt idx="515">
                  <c:v>20.260000000000002</c:v>
                </c:pt>
                <c:pt idx="516">
                  <c:v>21.08</c:v>
                </c:pt>
                <c:pt idx="517">
                  <c:v>21.69</c:v>
                </c:pt>
                <c:pt idx="518">
                  <c:v>21.01</c:v>
                </c:pt>
                <c:pt idx="519">
                  <c:v>21.59</c:v>
                </c:pt>
                <c:pt idx="520">
                  <c:v>21.47</c:v>
                </c:pt>
                <c:pt idx="521">
                  <c:v>22.3</c:v>
                </c:pt>
                <c:pt idx="522">
                  <c:v>22.87</c:v>
                </c:pt>
                <c:pt idx="523">
                  <c:v>22.97</c:v>
                </c:pt>
                <c:pt idx="524">
                  <c:v>22.05</c:v>
                </c:pt>
                <c:pt idx="525">
                  <c:v>20.61</c:v>
                </c:pt>
                <c:pt idx="526">
                  <c:v>22.27</c:v>
                </c:pt>
                <c:pt idx="527">
                  <c:v>23.35</c:v>
                </c:pt>
                <c:pt idx="528">
                  <c:v>23.31</c:v>
                </c:pt>
                <c:pt idx="529">
                  <c:v>23.55</c:v>
                </c:pt>
                <c:pt idx="530">
                  <c:v>25.31</c:v>
                </c:pt>
                <c:pt idx="531">
                  <c:v>23.05</c:v>
                </c:pt>
                <c:pt idx="532">
                  <c:v>24.91</c:v>
                </c:pt>
                <c:pt idx="533">
                  <c:v>23.85</c:v>
                </c:pt>
                <c:pt idx="534">
                  <c:v>24.04</c:v>
                </c:pt>
                <c:pt idx="535">
                  <c:v>22.54</c:v>
                </c:pt>
                <c:pt idx="536">
                  <c:v>22.23</c:v>
                </c:pt>
                <c:pt idx="537">
                  <c:v>23.2</c:v>
                </c:pt>
                <c:pt idx="538">
                  <c:v>23.36</c:v>
                </c:pt>
                <c:pt idx="539">
                  <c:v>22.59</c:v>
                </c:pt>
                <c:pt idx="540">
                  <c:v>23.95</c:v>
                </c:pt>
                <c:pt idx="541">
                  <c:v>24.82</c:v>
                </c:pt>
                <c:pt idx="542">
                  <c:v>28.52</c:v>
                </c:pt>
                <c:pt idx="543">
                  <c:v>23.3</c:v>
                </c:pt>
                <c:pt idx="544">
                  <c:v>24.38</c:v>
                </c:pt>
                <c:pt idx="545">
                  <c:v>23.07</c:v>
                </c:pt>
                <c:pt idx="546">
                  <c:v>23.38</c:v>
                </c:pt>
                <c:pt idx="547">
                  <c:v>23.47</c:v>
                </c:pt>
                <c:pt idx="548">
                  <c:v>23.68</c:v>
                </c:pt>
                <c:pt idx="549">
                  <c:v>22.15</c:v>
                </c:pt>
                <c:pt idx="550">
                  <c:v>26.51</c:v>
                </c:pt>
                <c:pt idx="551">
                  <c:v>23.44</c:v>
                </c:pt>
                <c:pt idx="552">
                  <c:v>23.14</c:v>
                </c:pt>
                <c:pt idx="553">
                  <c:v>22.65</c:v>
                </c:pt>
                <c:pt idx="554">
                  <c:v>23.5</c:v>
                </c:pt>
                <c:pt idx="555">
                  <c:v>22.51</c:v>
                </c:pt>
                <c:pt idx="556">
                  <c:v>24.59</c:v>
                </c:pt>
                <c:pt idx="557">
                  <c:v>22.42</c:v>
                </c:pt>
                <c:pt idx="558">
                  <c:v>21.83</c:v>
                </c:pt>
                <c:pt idx="559">
                  <c:v>25.12</c:v>
                </c:pt>
                <c:pt idx="560">
                  <c:v>23.92</c:v>
                </c:pt>
                <c:pt idx="563">
                  <c:v>28.08</c:v>
                </c:pt>
                <c:pt idx="564">
                  <c:v>26.87</c:v>
                </c:pt>
                <c:pt idx="565">
                  <c:v>26.44</c:v>
                </c:pt>
                <c:pt idx="566">
                  <c:v>25.7</c:v>
                </c:pt>
                <c:pt idx="567">
                  <c:v>24.96</c:v>
                </c:pt>
                <c:pt idx="568">
                  <c:v>25.71</c:v>
                </c:pt>
                <c:pt idx="569">
                  <c:v>25.13</c:v>
                </c:pt>
                <c:pt idx="570">
                  <c:v>23.64</c:v>
                </c:pt>
                <c:pt idx="571">
                  <c:v>27.11</c:v>
                </c:pt>
                <c:pt idx="572">
                  <c:v>27.7</c:v>
                </c:pt>
                <c:pt idx="573">
                  <c:v>25.3</c:v>
                </c:pt>
                <c:pt idx="574">
                  <c:v>26.01</c:v>
                </c:pt>
                <c:pt idx="575">
                  <c:v>24.4</c:v>
                </c:pt>
                <c:pt idx="576">
                  <c:v>25.17</c:v>
                </c:pt>
                <c:pt idx="577">
                  <c:v>25.97</c:v>
                </c:pt>
                <c:pt idx="578">
                  <c:v>29.78</c:v>
                </c:pt>
                <c:pt idx="579">
                  <c:v>28.41</c:v>
                </c:pt>
                <c:pt idx="580">
                  <c:v>28.83</c:v>
                </c:pt>
                <c:pt idx="581">
                  <c:v>25.6</c:v>
                </c:pt>
                <c:pt idx="582">
                  <c:v>29.24</c:v>
                </c:pt>
                <c:pt idx="583">
                  <c:v>28.56</c:v>
                </c:pt>
                <c:pt idx="584">
                  <c:v>27.23</c:v>
                </c:pt>
                <c:pt idx="585">
                  <c:v>25.15</c:v>
                </c:pt>
                <c:pt idx="586">
                  <c:v>25.66</c:v>
                </c:pt>
                <c:pt idx="587">
                  <c:v>25.78</c:v>
                </c:pt>
                <c:pt idx="588">
                  <c:v>26.49</c:v>
                </c:pt>
                <c:pt idx="589">
                  <c:v>25.6</c:v>
                </c:pt>
                <c:pt idx="590">
                  <c:v>26.38</c:v>
                </c:pt>
                <c:pt idx="591">
                  <c:v>27.69</c:v>
                </c:pt>
                <c:pt idx="592">
                  <c:v>25.02</c:v>
                </c:pt>
                <c:pt idx="593">
                  <c:v>26.01</c:v>
                </c:pt>
                <c:pt idx="594">
                  <c:v>25.28</c:v>
                </c:pt>
                <c:pt idx="595">
                  <c:v>24.74</c:v>
                </c:pt>
                <c:pt idx="596">
                  <c:v>26.41</c:v>
                </c:pt>
                <c:pt idx="597">
                  <c:v>25.72</c:v>
                </c:pt>
                <c:pt idx="598">
                  <c:v>23.74</c:v>
                </c:pt>
                <c:pt idx="599">
                  <c:v>26.89</c:v>
                </c:pt>
                <c:pt idx="600">
                  <c:v>26.73</c:v>
                </c:pt>
                <c:pt idx="601">
                  <c:v>25.85</c:v>
                </c:pt>
                <c:pt idx="602">
                  <c:v>25.91</c:v>
                </c:pt>
                <c:pt idx="603">
                  <c:v>26.28</c:v>
                </c:pt>
                <c:pt idx="604">
                  <c:v>26.87</c:v>
                </c:pt>
                <c:pt idx="605">
                  <c:v>24.53</c:v>
                </c:pt>
                <c:pt idx="606">
                  <c:v>25.18</c:v>
                </c:pt>
                <c:pt idx="607">
                  <c:v>27.41</c:v>
                </c:pt>
                <c:pt idx="608">
                  <c:v>26.21</c:v>
                </c:pt>
                <c:pt idx="609">
                  <c:v>33.380000000000003</c:v>
                </c:pt>
                <c:pt idx="610">
                  <c:v>26.24</c:v>
                </c:pt>
                <c:pt idx="611">
                  <c:v>26.66</c:v>
                </c:pt>
                <c:pt idx="612">
                  <c:v>28</c:v>
                </c:pt>
                <c:pt idx="613">
                  <c:v>27.71</c:v>
                </c:pt>
                <c:pt idx="614">
                  <c:v>26.74</c:v>
                </c:pt>
                <c:pt idx="615">
                  <c:v>24.82</c:v>
                </c:pt>
                <c:pt idx="620">
                  <c:v>29.71</c:v>
                </c:pt>
                <c:pt idx="621">
                  <c:v>28.32</c:v>
                </c:pt>
                <c:pt idx="622">
                  <c:v>30.25</c:v>
                </c:pt>
                <c:pt idx="623">
                  <c:v>27.41</c:v>
                </c:pt>
                <c:pt idx="624">
                  <c:v>30.24</c:v>
                </c:pt>
                <c:pt idx="625">
                  <c:v>28.24</c:v>
                </c:pt>
                <c:pt idx="626">
                  <c:v>30.2</c:v>
                </c:pt>
                <c:pt idx="627">
                  <c:v>28.86</c:v>
                </c:pt>
                <c:pt idx="628">
                  <c:v>26.45</c:v>
                </c:pt>
                <c:pt idx="629">
                  <c:v>27.31</c:v>
                </c:pt>
                <c:pt idx="630">
                  <c:v>27.86</c:v>
                </c:pt>
                <c:pt idx="631">
                  <c:v>28.95</c:v>
                </c:pt>
                <c:pt idx="632">
                  <c:v>27.28</c:v>
                </c:pt>
                <c:pt idx="633">
                  <c:v>28.64</c:v>
                </c:pt>
                <c:pt idx="634">
                  <c:v>29.84</c:v>
                </c:pt>
                <c:pt idx="635">
                  <c:v>27.29</c:v>
                </c:pt>
                <c:pt idx="636">
                  <c:v>26.91</c:v>
                </c:pt>
                <c:pt idx="637">
                  <c:v>26.67</c:v>
                </c:pt>
                <c:pt idx="638">
                  <c:v>26.16</c:v>
                </c:pt>
                <c:pt idx="639">
                  <c:v>24.54</c:v>
                </c:pt>
                <c:pt idx="640">
                  <c:v>25.08</c:v>
                </c:pt>
                <c:pt idx="641">
                  <c:v>25.66</c:v>
                </c:pt>
                <c:pt idx="642">
                  <c:v>26.23</c:v>
                </c:pt>
                <c:pt idx="643">
                  <c:v>24.29</c:v>
                </c:pt>
                <c:pt idx="644">
                  <c:v>24.73</c:v>
                </c:pt>
                <c:pt idx="645">
                  <c:v>24.36</c:v>
                </c:pt>
                <c:pt idx="646">
                  <c:v>25.46</c:v>
                </c:pt>
                <c:pt idx="647">
                  <c:v>27.36</c:v>
                </c:pt>
                <c:pt idx="648">
                  <c:v>23.59</c:v>
                </c:pt>
                <c:pt idx="649">
                  <c:v>24.21</c:v>
                </c:pt>
                <c:pt idx="650">
                  <c:v>23.27</c:v>
                </c:pt>
                <c:pt idx="651">
                  <c:v>24.99</c:v>
                </c:pt>
                <c:pt idx="652">
                  <c:v>23.81</c:v>
                </c:pt>
                <c:pt idx="653">
                  <c:v>24.54</c:v>
                </c:pt>
                <c:pt idx="654">
                  <c:v>27.12</c:v>
                </c:pt>
                <c:pt idx="655">
                  <c:v>23.46</c:v>
                </c:pt>
                <c:pt idx="656">
                  <c:v>26.9</c:v>
                </c:pt>
                <c:pt idx="657">
                  <c:v>24.34</c:v>
                </c:pt>
                <c:pt idx="658">
                  <c:v>26.22</c:v>
                </c:pt>
                <c:pt idx="659">
                  <c:v>25.82</c:v>
                </c:pt>
                <c:pt idx="660">
                  <c:v>24.72</c:v>
                </c:pt>
                <c:pt idx="661">
                  <c:v>25.05</c:v>
                </c:pt>
                <c:pt idx="662">
                  <c:v>23.82</c:v>
                </c:pt>
                <c:pt idx="663">
                  <c:v>25.87</c:v>
                </c:pt>
                <c:pt idx="664">
                  <c:v>24.08</c:v>
                </c:pt>
                <c:pt idx="665">
                  <c:v>25.59</c:v>
                </c:pt>
                <c:pt idx="666">
                  <c:v>27.36</c:v>
                </c:pt>
                <c:pt idx="667">
                  <c:v>26.08</c:v>
                </c:pt>
                <c:pt idx="668">
                  <c:v>26.1</c:v>
                </c:pt>
                <c:pt idx="669">
                  <c:v>28.02</c:v>
                </c:pt>
                <c:pt idx="670">
                  <c:v>29.23</c:v>
                </c:pt>
                <c:pt idx="671">
                  <c:v>29.28</c:v>
                </c:pt>
                <c:pt idx="672">
                  <c:v>27.59</c:v>
                </c:pt>
                <c:pt idx="673">
                  <c:v>26.07</c:v>
                </c:pt>
                <c:pt idx="674">
                  <c:v>25.98</c:v>
                </c:pt>
                <c:pt idx="675">
                  <c:v>26.2</c:v>
                </c:pt>
                <c:pt idx="676">
                  <c:v>26.45</c:v>
                </c:pt>
                <c:pt idx="677">
                  <c:v>26.7</c:v>
                </c:pt>
                <c:pt idx="678">
                  <c:v>28.04</c:v>
                </c:pt>
                <c:pt idx="679">
                  <c:v>24.88</c:v>
                </c:pt>
                <c:pt idx="680">
                  <c:v>25.37</c:v>
                </c:pt>
                <c:pt idx="681">
                  <c:v>25.99</c:v>
                </c:pt>
                <c:pt idx="682">
                  <c:v>25.85</c:v>
                </c:pt>
                <c:pt idx="683">
                  <c:v>27.12</c:v>
                </c:pt>
                <c:pt idx="684">
                  <c:v>27.2</c:v>
                </c:pt>
                <c:pt idx="685">
                  <c:v>26.18</c:v>
                </c:pt>
                <c:pt idx="686">
                  <c:v>36.07</c:v>
                </c:pt>
                <c:pt idx="687">
                  <c:v>27.58</c:v>
                </c:pt>
                <c:pt idx="688">
                  <c:v>26.66</c:v>
                </c:pt>
                <c:pt idx="689">
                  <c:v>24.75</c:v>
                </c:pt>
                <c:pt idx="690">
                  <c:v>23.94</c:v>
                </c:pt>
                <c:pt idx="691">
                  <c:v>24.02</c:v>
                </c:pt>
                <c:pt idx="692">
                  <c:v>25.54</c:v>
                </c:pt>
                <c:pt idx="693">
                  <c:v>23.25</c:v>
                </c:pt>
                <c:pt idx="694">
                  <c:v>21.79</c:v>
                </c:pt>
                <c:pt idx="695">
                  <c:v>21.15</c:v>
                </c:pt>
                <c:pt idx="696">
                  <c:v>20.21</c:v>
                </c:pt>
                <c:pt idx="697">
                  <c:v>21.48</c:v>
                </c:pt>
                <c:pt idx="698">
                  <c:v>19.489999999999998</c:v>
                </c:pt>
                <c:pt idx="699">
                  <c:v>20.89</c:v>
                </c:pt>
                <c:pt idx="700">
                  <c:v>22.77</c:v>
                </c:pt>
                <c:pt idx="701">
                  <c:v>23.83</c:v>
                </c:pt>
                <c:pt idx="702">
                  <c:v>27.3</c:v>
                </c:pt>
                <c:pt idx="703">
                  <c:v>22.6</c:v>
                </c:pt>
                <c:pt idx="704">
                  <c:v>24.73</c:v>
                </c:pt>
                <c:pt idx="705">
                  <c:v>23.56</c:v>
                </c:pt>
                <c:pt idx="706">
                  <c:v>23.74</c:v>
                </c:pt>
                <c:pt idx="707">
                  <c:v>24.49</c:v>
                </c:pt>
                <c:pt idx="708">
                  <c:v>24.06</c:v>
                </c:pt>
                <c:pt idx="709">
                  <c:v>22.69</c:v>
                </c:pt>
                <c:pt idx="710">
                  <c:v>22.23</c:v>
                </c:pt>
                <c:pt idx="711">
                  <c:v>22.73</c:v>
                </c:pt>
                <c:pt idx="712">
                  <c:v>28.53</c:v>
                </c:pt>
                <c:pt idx="713">
                  <c:v>24.43</c:v>
                </c:pt>
                <c:pt idx="714">
                  <c:v>26.48</c:v>
                </c:pt>
                <c:pt idx="715">
                  <c:v>31.12</c:v>
                </c:pt>
                <c:pt idx="716">
                  <c:v>23.13</c:v>
                </c:pt>
                <c:pt idx="717">
                  <c:v>24.2</c:v>
                </c:pt>
                <c:pt idx="718">
                  <c:v>28.27</c:v>
                </c:pt>
                <c:pt idx="719">
                  <c:v>25.8</c:v>
                </c:pt>
                <c:pt idx="720">
                  <c:v>26.1</c:v>
                </c:pt>
                <c:pt idx="721">
                  <c:v>26.87</c:v>
                </c:pt>
                <c:pt idx="722">
                  <c:v>28.18</c:v>
                </c:pt>
                <c:pt idx="723">
                  <c:v>23.62</c:v>
                </c:pt>
                <c:pt idx="724">
                  <c:v>25.93</c:v>
                </c:pt>
                <c:pt idx="725">
                  <c:v>25.32</c:v>
                </c:pt>
                <c:pt idx="726">
                  <c:v>28.42</c:v>
                </c:pt>
                <c:pt idx="727">
                  <c:v>24.55</c:v>
                </c:pt>
                <c:pt idx="728">
                  <c:v>26.31</c:v>
                </c:pt>
                <c:pt idx="729">
                  <c:v>26.75</c:v>
                </c:pt>
                <c:pt idx="730">
                  <c:v>25.34</c:v>
                </c:pt>
                <c:pt idx="731">
                  <c:v>28.22</c:v>
                </c:pt>
                <c:pt idx="732">
                  <c:v>29.03</c:v>
                </c:pt>
                <c:pt idx="733">
                  <c:v>27.51</c:v>
                </c:pt>
                <c:pt idx="734">
                  <c:v>23.11</c:v>
                </c:pt>
                <c:pt idx="735">
                  <c:v>23.95</c:v>
                </c:pt>
                <c:pt idx="736">
                  <c:v>25.86</c:v>
                </c:pt>
                <c:pt idx="737">
                  <c:v>25.11</c:v>
                </c:pt>
                <c:pt idx="738">
                  <c:v>23.27</c:v>
                </c:pt>
                <c:pt idx="739">
                  <c:v>24.61</c:v>
                </c:pt>
                <c:pt idx="740">
                  <c:v>26.69</c:v>
                </c:pt>
                <c:pt idx="741">
                  <c:v>26.37</c:v>
                </c:pt>
                <c:pt idx="742">
                  <c:v>23.91</c:v>
                </c:pt>
                <c:pt idx="743">
                  <c:v>24.88</c:v>
                </c:pt>
                <c:pt idx="744">
                  <c:v>22.58</c:v>
                </c:pt>
                <c:pt idx="745">
                  <c:v>25.77</c:v>
                </c:pt>
                <c:pt idx="746">
                  <c:v>24.68</c:v>
                </c:pt>
                <c:pt idx="747">
                  <c:v>25.59</c:v>
                </c:pt>
                <c:pt idx="748">
                  <c:v>24.78</c:v>
                </c:pt>
                <c:pt idx="749">
                  <c:v>26.57</c:v>
                </c:pt>
                <c:pt idx="750">
                  <c:v>29.16</c:v>
                </c:pt>
                <c:pt idx="751">
                  <c:v>25.06</c:v>
                </c:pt>
                <c:pt idx="752">
                  <c:v>25.61</c:v>
                </c:pt>
                <c:pt idx="753">
                  <c:v>28.52</c:v>
                </c:pt>
                <c:pt idx="754">
                  <c:v>29.63</c:v>
                </c:pt>
                <c:pt idx="755">
                  <c:v>28.55</c:v>
                </c:pt>
                <c:pt idx="756">
                  <c:v>31.48</c:v>
                </c:pt>
                <c:pt idx="757">
                  <c:v>30.67</c:v>
                </c:pt>
                <c:pt idx="758">
                  <c:v>31.4</c:v>
                </c:pt>
                <c:pt idx="759">
                  <c:v>29.46</c:v>
                </c:pt>
                <c:pt idx="760">
                  <c:v>29.42</c:v>
                </c:pt>
                <c:pt idx="761">
                  <c:v>28.31</c:v>
                </c:pt>
                <c:pt idx="762">
                  <c:v>32.72</c:v>
                </c:pt>
                <c:pt idx="763">
                  <c:v>32.369999999999997</c:v>
                </c:pt>
                <c:pt idx="764">
                  <c:v>29.04</c:v>
                </c:pt>
                <c:pt idx="765">
                  <c:v>32.99</c:v>
                </c:pt>
                <c:pt idx="766">
                  <c:v>30.04</c:v>
                </c:pt>
                <c:pt idx="767">
                  <c:v>33.090000000000003</c:v>
                </c:pt>
                <c:pt idx="768">
                  <c:v>30.64</c:v>
                </c:pt>
                <c:pt idx="769">
                  <c:v>31.15</c:v>
                </c:pt>
                <c:pt idx="770">
                  <c:v>32.020000000000003</c:v>
                </c:pt>
                <c:pt idx="771">
                  <c:v>32.9</c:v>
                </c:pt>
                <c:pt idx="773">
                  <c:v>30.78</c:v>
                </c:pt>
                <c:pt idx="774">
                  <c:v>32.85</c:v>
                </c:pt>
                <c:pt idx="775">
                  <c:v>34.57</c:v>
                </c:pt>
                <c:pt idx="776">
                  <c:v>32.24</c:v>
                </c:pt>
                <c:pt idx="777">
                  <c:v>34.07</c:v>
                </c:pt>
                <c:pt idx="778">
                  <c:v>33.159999999999997</c:v>
                </c:pt>
                <c:pt idx="779">
                  <c:v>34.229999999999997</c:v>
                </c:pt>
                <c:pt idx="780">
                  <c:v>37.51</c:v>
                </c:pt>
                <c:pt idx="781">
                  <c:v>30.26</c:v>
                </c:pt>
                <c:pt idx="782">
                  <c:v>32.17</c:v>
                </c:pt>
                <c:pt idx="783">
                  <c:v>31.36</c:v>
                </c:pt>
                <c:pt idx="784">
                  <c:v>29.38</c:v>
                </c:pt>
                <c:pt idx="785">
                  <c:v>33.69</c:v>
                </c:pt>
                <c:pt idx="786">
                  <c:v>30.13</c:v>
                </c:pt>
                <c:pt idx="787">
                  <c:v>28.52</c:v>
                </c:pt>
                <c:pt idx="788">
                  <c:v>28.97</c:v>
                </c:pt>
                <c:pt idx="789">
                  <c:v>27.36</c:v>
                </c:pt>
                <c:pt idx="790">
                  <c:v>30.7</c:v>
                </c:pt>
                <c:pt idx="791">
                  <c:v>29.09</c:v>
                </c:pt>
                <c:pt idx="792">
                  <c:v>29.94</c:v>
                </c:pt>
                <c:pt idx="793">
                  <c:v>29.4</c:v>
                </c:pt>
                <c:pt idx="794">
                  <c:v>29.89</c:v>
                </c:pt>
                <c:pt idx="795">
                  <c:v>28.4</c:v>
                </c:pt>
                <c:pt idx="796">
                  <c:v>30.46</c:v>
                </c:pt>
                <c:pt idx="797">
                  <c:v>34.049999999999997</c:v>
                </c:pt>
                <c:pt idx="798">
                  <c:v>30.31</c:v>
                </c:pt>
                <c:pt idx="799">
                  <c:v>31.43</c:v>
                </c:pt>
                <c:pt idx="800">
                  <c:v>33.369999999999997</c:v>
                </c:pt>
                <c:pt idx="801">
                  <c:v>32.32</c:v>
                </c:pt>
                <c:pt idx="802">
                  <c:v>29.59</c:v>
                </c:pt>
                <c:pt idx="803">
                  <c:v>30.35</c:v>
                </c:pt>
                <c:pt idx="804">
                  <c:v>31.11</c:v>
                </c:pt>
                <c:pt idx="805" formatCode="General">
                  <c:v>30.31</c:v>
                </c:pt>
                <c:pt idx="806" formatCode="General">
                  <c:v>30.54</c:v>
                </c:pt>
                <c:pt idx="807" formatCode="General">
                  <c:v>28.74</c:v>
                </c:pt>
              </c:numCache>
            </c:numRef>
          </c:val>
          <c:smooth val="0"/>
          <c:extLst>
            <c:ext xmlns:c16="http://schemas.microsoft.com/office/drawing/2014/chart" uri="{C3380CC4-5D6E-409C-BE32-E72D297353CC}">
              <c16:uniqueId val="{00000000-7354-4F95-8053-19FC787117E9}"/>
            </c:ext>
          </c:extLst>
        </c:ser>
        <c:dLbls>
          <c:showLegendKey val="0"/>
          <c:showVal val="0"/>
          <c:showCatName val="0"/>
          <c:showSerName val="0"/>
          <c:showPercent val="0"/>
          <c:showBubbleSize val="0"/>
        </c:dLbls>
        <c:smooth val="0"/>
        <c:axId val="2063823824"/>
        <c:axId val="1"/>
      </c:lineChart>
      <c:catAx>
        <c:axId val="2063823824"/>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063823824"/>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7/16/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Weekly report on price trends and performances of beef cattle in South Africa</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Week 27 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73B0C-F68B-0747-5A00-15858128218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CC02053-1CF9-750E-3EC5-2AC3E3E5565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430CB060-0D89-B74F-346F-DACBC42A90D7}"/>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1919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395E5-1111-A100-11DB-FD92B909F9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A451E2F-93C9-9EF0-1A57-DA8E9BE95E84}"/>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75BD7310-B640-7C5E-BAE1-16A6AD78EFA4}"/>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9316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A3897-E86C-625B-AA44-6C906525640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A601158-8BC8-C26F-2D2C-290C9CA1DE0B}"/>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5A1FA846-5A84-9B82-477A-D61AB2EB0765}"/>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28111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870CC-8E47-8D91-9DC9-3E05541F132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CDA5DA2-C736-AF2C-2FA4-7B8B3E033A5B}"/>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2640CADD-CCA7-5390-12EE-B47FFAC2823A}"/>
              </a:ext>
            </a:extLst>
          </p:cNvPr>
          <p:cNvGraphicFramePr>
            <a:graphicFrameLocks/>
          </p:cNvGraphicFramePr>
          <p:nvPr/>
        </p:nvGraphicFramePr>
        <p:xfrm>
          <a:off x="1965325" y="1285875"/>
          <a:ext cx="826135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25212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3F101-B5A4-735D-A4DA-92203DC4623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8486FFB-FD2D-D3AA-0088-707AE6FF2C5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64EC0E6C-CD17-2601-DFEB-3A2BDE3E1762}"/>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28479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DB4D0-C199-9818-A2CC-536419B39F5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5367DB3-312E-7E36-E0D0-596D776BB3B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20A2A760-5FD3-3DA1-35E2-9745D3E6BCC9}"/>
              </a:ext>
            </a:extLst>
          </p:cNvPr>
          <p:cNvGraphicFramePr>
            <a:graphicFrameLocks/>
          </p:cNvGraphicFramePr>
          <p:nvPr/>
        </p:nvGraphicFramePr>
        <p:xfrm>
          <a:off x="1965325" y="1295400"/>
          <a:ext cx="8261350" cy="4267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0026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E53B5-D7A8-6BAF-6F26-A8B51866C18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63C859F-C246-3367-3852-329DBB83A429}"/>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18685700-80F7-9295-1DBD-73D4B21B7818}"/>
              </a:ext>
            </a:extLst>
          </p:cNvPr>
          <p:cNvGraphicFramePr>
            <a:graphicFrameLocks/>
          </p:cNvGraphicFramePr>
          <p:nvPr/>
        </p:nvGraphicFramePr>
        <p:xfrm>
          <a:off x="2008187" y="1295400"/>
          <a:ext cx="8175625" cy="4267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76777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https://www.vleissentraal.co.za/</a:t>
            </a:r>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3" name="Picture 2">
            <a:extLst>
              <a:ext uri="{FF2B5EF4-FFF2-40B4-BE49-F238E27FC236}">
                <a16:creationId xmlns:a16="http://schemas.microsoft.com/office/drawing/2014/main" id="{FF828BA8-D20A-3B2C-9326-2C1713455054}"/>
              </a:ext>
            </a:extLst>
          </p:cNvPr>
          <p:cNvPicPr>
            <a:picLocks noChangeAspect="1"/>
          </p:cNvPicPr>
          <p:nvPr/>
        </p:nvPicPr>
        <p:blipFill>
          <a:blip r:embed="rId2"/>
          <a:stretch>
            <a:fillRect/>
          </a:stretch>
        </p:blipFill>
        <p:spPr>
          <a:xfrm>
            <a:off x="3643223" y="2443162"/>
            <a:ext cx="3743325" cy="197167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71EC9229-E80B-81EA-8E21-6E9D194D550F}"/>
              </a:ext>
            </a:extLst>
          </p:cNvPr>
          <p:cNvGraphicFramePr>
            <a:graphicFrameLocks/>
          </p:cNvGraphicFramePr>
          <p:nvPr/>
        </p:nvGraphicFramePr>
        <p:xfrm>
          <a:off x="1955800" y="1285875"/>
          <a:ext cx="828040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F4E46-133C-4BE1-BBEE-4AB48CD7D28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4D687F-3605-510E-40EF-00E091CDB69E}"/>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D12C44BA-570D-B2A1-9564-CBB23E148025}"/>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26933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23627-2E1F-C9E8-CD03-03A84C22E3F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43C753F-FCAA-0605-5523-3783EA873F23}"/>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82E0A371-9C7E-EE7F-93F7-E482883672C7}"/>
              </a:ext>
            </a:extLst>
          </p:cNvPr>
          <p:cNvGraphicFramePr>
            <a:graphicFrameLocks/>
          </p:cNvGraphicFramePr>
          <p:nvPr/>
        </p:nvGraphicFramePr>
        <p:xfrm>
          <a:off x="1965325" y="1285875"/>
          <a:ext cx="826135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178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53A92-35B7-06BE-F630-A945C35EA1E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6CB2347-A6C5-C895-5371-B8D8A1FFAC0F}"/>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2469972E-9CC9-38F4-183B-D7335B68EC09}"/>
              </a:ext>
            </a:extLst>
          </p:cNvPr>
          <p:cNvGraphicFramePr>
            <a:graphicFrameLocks/>
          </p:cNvGraphicFramePr>
          <p:nvPr/>
        </p:nvGraphicFramePr>
        <p:xfrm>
          <a:off x="2012950" y="1308100"/>
          <a:ext cx="8166100" cy="4241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28508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68B9E-0F66-112F-961B-384D865582D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E1C3872-00E2-FE87-8B68-3935C3CD4C9D}"/>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86DED434-3C62-199B-7195-6A961503608C}"/>
              </a:ext>
            </a:extLst>
          </p:cNvPr>
          <p:cNvGraphicFramePr>
            <a:graphicFrameLocks/>
          </p:cNvGraphicFramePr>
          <p:nvPr/>
        </p:nvGraphicFramePr>
        <p:xfrm>
          <a:off x="1965325" y="1285875"/>
          <a:ext cx="826135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2301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B2873-C96F-7856-26E9-269F91DDC2B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E228141-4BE6-8439-B538-4A1548E3B094}"/>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432DA7CA-CBD2-835F-BB5A-6E505B17EC3C}"/>
              </a:ext>
            </a:extLst>
          </p:cNvPr>
          <p:cNvGraphicFramePr>
            <a:graphicFrameLocks/>
          </p:cNvGraphicFramePr>
          <p:nvPr/>
        </p:nvGraphicFramePr>
        <p:xfrm>
          <a:off x="2008187" y="1285875"/>
          <a:ext cx="8175625"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07392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8990F-55A1-75C2-1516-D4E2ED583FC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1907679-610C-1247-BE1D-99D61B434E63}"/>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08491920-1987-BA6A-9180-570D6A1A671B}"/>
              </a:ext>
            </a:extLst>
          </p:cNvPr>
          <p:cNvGraphicFramePr>
            <a:graphicFrameLocks/>
          </p:cNvGraphicFramePr>
          <p:nvPr/>
        </p:nvGraphicFramePr>
        <p:xfrm>
          <a:off x="1984375" y="1295400"/>
          <a:ext cx="8223250" cy="4267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34010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596</TotalTime>
  <Words>268</Words>
  <Application>Microsoft Office PowerPoint</Application>
  <PresentationFormat>Widescreen</PresentationFormat>
  <Paragraphs>59</Paragraphs>
  <Slides>1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Century Gothic</vt:lpstr>
      <vt:lpstr>WCG-PPT Master-121022-amc</vt:lpstr>
      <vt:lpstr>think-cell Slide</vt:lpstr>
      <vt:lpstr>PowerPoint Presentation</vt:lpstr>
      <vt:lpstr>INDEMNITY</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87</cp:revision>
  <cp:lastPrinted>2019-01-28T07:09:01Z</cp:lastPrinted>
  <dcterms:created xsi:type="dcterms:W3CDTF">2017-01-19T08:56:34Z</dcterms:created>
  <dcterms:modified xsi:type="dcterms:W3CDTF">2026-07-16T11:43:05Z</dcterms:modified>
</cp:coreProperties>
</file>